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5" r:id="rId4"/>
    <p:sldMasterId id="2147483715" r:id="rId5"/>
    <p:sldMasterId id="2147483733" r:id="rId6"/>
    <p:sldMasterId id="2147483720" r:id="rId7"/>
    <p:sldMasterId id="2147483773" r:id="rId8"/>
    <p:sldMasterId id="2147483747" r:id="rId9"/>
  </p:sldMasterIdLst>
  <p:notesMasterIdLst>
    <p:notesMasterId r:id="rId23"/>
  </p:notesMasterIdLst>
  <p:sldIdLst>
    <p:sldId id="316" r:id="rId10"/>
    <p:sldId id="673" r:id="rId11"/>
    <p:sldId id="674" r:id="rId12"/>
    <p:sldId id="675" r:id="rId13"/>
    <p:sldId id="676" r:id="rId14"/>
    <p:sldId id="726" r:id="rId15"/>
    <p:sldId id="694" r:id="rId16"/>
    <p:sldId id="724" r:id="rId17"/>
    <p:sldId id="680" r:id="rId18"/>
    <p:sldId id="725" r:id="rId19"/>
    <p:sldId id="684" r:id="rId20"/>
    <p:sldId id="690" r:id="rId21"/>
    <p:sldId id="318" r:id="rId22"/>
  </p:sldIdLst>
  <p:sldSz cx="9144000" cy="6858000" type="screen4x3"/>
  <p:notesSz cx="7104063" cy="10234613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표지" id="{F2525071-951A-A748-8CF0-6187387FF29E}">
          <p14:sldIdLst>
            <p14:sldId id="316"/>
          </p14:sldIdLst>
        </p14:section>
        <p14:section name="목차" id="{958C0D6A-D957-254E-8AF0-60E654058368}">
          <p14:sldIdLst>
            <p14:sldId id="673"/>
            <p14:sldId id="674"/>
          </p14:sldIdLst>
        </p14:section>
        <p14:section name="I. 검증 개요" id="{E8358759-BA2D-497B-99BB-C83161DA0AD2}">
          <p14:sldIdLst>
            <p14:sldId id="675"/>
            <p14:sldId id="676"/>
            <p14:sldId id="726"/>
            <p14:sldId id="694"/>
            <p14:sldId id="724"/>
            <p14:sldId id="680"/>
          </p14:sldIdLst>
        </p14:section>
        <p14:section name="II. 검증 결과" id="{A1D98D8E-EFF7-429F-B30A-6C025B6D8CD6}">
          <p14:sldIdLst>
            <p14:sldId id="725"/>
            <p14:sldId id="684"/>
          </p14:sldIdLst>
        </p14:section>
        <p14:section name="III 별첨" id="{CF64C6B4-9750-46D7-BE5B-A05683A8AA5C}">
          <p14:sldIdLst>
            <p14:sldId id="690"/>
            <p14:sldId id="31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7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92E6E"/>
    <a:srgbClr val="C5C8CF"/>
    <a:srgbClr val="E6E8EB"/>
    <a:srgbClr val="FFFFFF"/>
    <a:srgbClr val="121212"/>
    <a:srgbClr val="F7F8F9"/>
    <a:srgbClr val="8ECCF2"/>
    <a:srgbClr val="3F97D3"/>
    <a:srgbClr val="EDF0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ACF4677E-8BD2-47ae-8A1F-98590045965D">
      <hp:hncThemeShow xmlns="" xmlns:c="http://schemas.openxmlformats.org/drawingml/2006/chart" xmlns:dgm="http://schemas.openxmlformats.org/drawingml/2006/diagram" xmlns:dsp="http://schemas.microsoft.com/office/drawing/2008/diagram" xmlns:hp="http://schemas.haansoft.com/office/presentation/8.0" themeShowType="1" themeSkinType="1" themeTransitionType="1" useThemeTransition="1" byMouseClick="1" attrType="1" dur="200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69" autoAdjust="0"/>
    <p:restoredTop sz="88457"/>
  </p:normalViewPr>
  <p:slideViewPr>
    <p:cSldViewPr snapToGrid="0">
      <p:cViewPr varScale="1">
        <p:scale>
          <a:sx n="99" d="100"/>
          <a:sy n="99" d="100"/>
        </p:scale>
        <p:origin x="2148" y="72"/>
      </p:cViewPr>
      <p:guideLst>
        <p:guide orient="horz" pos="2160"/>
        <p:guide pos="2879"/>
      </p:guideLst>
    </p:cSldViewPr>
  </p:slideViewPr>
  <p:notesTextViewPr>
    <p:cViewPr>
      <p:scale>
        <a:sx n="150" d="100"/>
        <a:sy n="150" d="100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3864" y="10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12F0BB40-6EF0-6847-9388-19F1583F8660}" type="datetimeFigureOut">
              <a:rPr kumimoji="1" lang="ko-KR" altLang="en-US" smtClean="0"/>
              <a:t>2025-03-11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249363" y="1279525"/>
            <a:ext cx="46053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r>
              <a:rPr kumimoji="1" lang="ko-KR" altLang="en-US"/>
              <a:t>마스터 텍스트 스타일 편집
둘째 수준
셋째 수준
넷째 수준
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17B125B1-0511-9A45-82B8-F97652C6B9F5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579841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935-C6A8-44CD-8755-F15858F30695}" type="slidenum">
              <a:rPr lang="ko-KR" altLang="en-US" smtClean="0"/>
              <a:pPr/>
              <a:t>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97180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935-C6A8-44CD-8755-F15858F30695}" type="slidenum">
              <a:rPr lang="ko-KR" altLang="en-US" smtClean="0"/>
              <a:pPr/>
              <a:t>1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808097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2510" indent="-192510">
              <a:buFont typeface="Arial" panose="020B0604020202020204" pitchFamily="34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935-C6A8-44CD-8755-F15858F30695}" type="slidenum">
              <a:rPr lang="ko-KR" altLang="en-US" smtClean="0"/>
              <a:pPr/>
              <a:t>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348943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92510" indent="-192510">
              <a:buFont typeface="Arial" panose="020B0604020202020204" pitchFamily="34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51E121-D30D-4877-A5AA-F8E21588A08B}" type="slidenum">
              <a:rPr lang="ko-KR" altLang="en-US" smtClean="0"/>
              <a:pPr/>
              <a:t>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272673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776C90-00A8-C6C1-AC20-46B35EDB99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67711D0-7EA0-E93A-FE6A-6C6445DA8F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15A6947-BDE5-26C5-2955-7ECA30571B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4169" indent="-184169">
              <a:buFont typeface="Arial" panose="020B0604020202020204" pitchFamily="34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4C98721-4AEC-143A-338F-3BE04C1ED2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935-C6A8-44CD-8755-F15858F30695}" type="slidenum">
              <a:rPr lang="ko-KR" altLang="en-US" smtClean="0"/>
              <a:pPr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52202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935-C6A8-44CD-8755-F15858F30695}" type="slidenum">
              <a:rPr lang="ko-KR" altLang="en-US" smtClean="0"/>
              <a:pPr/>
              <a:t>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144372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2FE625-A5B7-C16D-FC10-0295059A37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FD7DCB0-5853-3860-130B-F0C22DAAA0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0272912-BF39-29E0-AF45-5918180A9C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F9A619B-B1B4-6326-6092-BB3919EEDB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935-C6A8-44CD-8755-F15858F30695}" type="slidenum">
              <a:rPr lang="ko-KR" altLang="en-US" smtClean="0"/>
              <a:pPr/>
              <a:t>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780942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935-C6A8-44CD-8755-F15858F30695}" type="slidenum">
              <a:rPr lang="ko-KR" altLang="en-US" smtClean="0"/>
              <a:pPr/>
              <a:t>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900933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89D07A-8687-FE62-7692-9EC85209C1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5F2B447-94CC-CE95-0B80-3B48C6876D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4EE48D4-0751-9822-3086-E4C582326A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48C55C0-2E26-62D1-AF4A-65B55D0AC3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935-C6A8-44CD-8755-F15858F30695}" type="slidenum">
              <a:rPr lang="ko-KR" altLang="en-US" smtClean="0"/>
              <a:pPr/>
              <a:t>1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586507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570A21-5425-4899-B0A7-3B38FF2B9431}" type="slidenum">
              <a:rPr lang="ko-KR" altLang="en-US" smtClean="0">
                <a:solidFill>
                  <a:prstClr val="black"/>
                </a:solidFill>
              </a:rPr>
              <a:pPr/>
              <a:t>1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401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텍스트 개체 틀 3">
            <a:extLst>
              <a:ext uri="{FF2B5EF4-FFF2-40B4-BE49-F238E27FC236}">
                <a16:creationId xmlns:a16="http://schemas.microsoft.com/office/drawing/2014/main" id="{9F02762A-224B-2443-8D13-0B1F1CE0B2FA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468501" y="2428225"/>
            <a:ext cx="4738346" cy="3031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 dirty="0"/>
              <a:t>소제목</a:t>
            </a:r>
          </a:p>
        </p:txBody>
      </p:sp>
      <p:sp>
        <p:nvSpPr>
          <p:cNvPr id="7" name="제목 1">
            <a:extLst>
              <a:ext uri="{FF2B5EF4-FFF2-40B4-BE49-F238E27FC236}">
                <a16:creationId xmlns:a16="http://schemas.microsoft.com/office/drawing/2014/main" id="{5E200FDB-581A-DE4E-8F4E-78AC3152A5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596" y="849465"/>
            <a:ext cx="5919391" cy="158415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00" b="1"/>
            </a:lvl1pPr>
          </a:lstStyle>
          <a:p>
            <a:r>
              <a:rPr lang="ko-KR" altLang="en-US" dirty="0"/>
              <a:t>마스터 제목</a:t>
            </a:r>
            <a:br>
              <a:rPr lang="en-US" altLang="ko-KR" dirty="0"/>
            </a:br>
            <a:r>
              <a:rPr lang="ko-KR" altLang="en-US" dirty="0"/>
              <a:t>스타일 편집</a:t>
            </a:r>
          </a:p>
        </p:txBody>
      </p:sp>
      <p:sp>
        <p:nvSpPr>
          <p:cNvPr id="8" name="텍스트 개체 틀 3">
            <a:extLst>
              <a:ext uri="{FF2B5EF4-FFF2-40B4-BE49-F238E27FC236}">
                <a16:creationId xmlns:a16="http://schemas.microsoft.com/office/drawing/2014/main" id="{AD50DE64-0526-5D41-AE9D-95C06764A5F9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1694594" y="2957616"/>
            <a:ext cx="3512254" cy="3031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 dirty="0"/>
              <a:t>이름</a:t>
            </a:r>
            <a:r>
              <a:rPr kumimoji="1" lang="en-US" altLang="ko-KR" dirty="0"/>
              <a:t>(</a:t>
            </a:r>
            <a:r>
              <a:rPr kumimoji="1" lang="en-US" altLang="ko-KR" dirty="0" err="1"/>
              <a:t>abc@virnect.com</a:t>
            </a:r>
            <a:r>
              <a:rPr kumimoji="1" lang="en-US" altLang="ko-KR" dirty="0"/>
              <a:t>)</a:t>
            </a:r>
            <a:endParaRPr kumimoji="1" lang="ko-KR" altLang="en-US" dirty="0"/>
          </a:p>
        </p:txBody>
      </p:sp>
      <p:sp>
        <p:nvSpPr>
          <p:cNvPr id="10" name="텍스트 개체 틀 3">
            <a:extLst>
              <a:ext uri="{FF2B5EF4-FFF2-40B4-BE49-F238E27FC236}">
                <a16:creationId xmlns:a16="http://schemas.microsoft.com/office/drawing/2014/main" id="{8E44A083-5827-454D-B355-B12E9F3D9EC6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468501" y="2957616"/>
            <a:ext cx="1177419" cy="3031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en-US" altLang="ko-KR" dirty="0"/>
              <a:t>2020.01.30</a:t>
            </a:r>
            <a:endParaRPr kumimoji="1" lang="ko-KR" altLang="en-US" dirty="0"/>
          </a:p>
        </p:txBody>
      </p:sp>
      <p:cxnSp>
        <p:nvCxnSpPr>
          <p:cNvPr id="11" name="직선 연결선[R] 10">
            <a:extLst>
              <a:ext uri="{FF2B5EF4-FFF2-40B4-BE49-F238E27FC236}">
                <a16:creationId xmlns:a16="http://schemas.microsoft.com/office/drawing/2014/main" id="{605B0B82-095A-814B-B711-125FE305CFA1}"/>
              </a:ext>
            </a:extLst>
          </p:cNvPr>
          <p:cNvCxnSpPr>
            <a:cxnSpLocks/>
          </p:cNvCxnSpPr>
          <p:nvPr userDrawn="1"/>
        </p:nvCxnSpPr>
        <p:spPr>
          <a:xfrm>
            <a:off x="1639878" y="3008974"/>
            <a:ext cx="0" cy="16200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2169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제목 1">
            <a:extLst>
              <a:ext uri="{FF2B5EF4-FFF2-40B4-BE49-F238E27FC236}">
                <a16:creationId xmlns:a16="http://schemas.microsoft.com/office/drawing/2014/main" id="{C7554C87-11FA-354B-B282-C0C35EB98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634" y="506913"/>
            <a:ext cx="8383080" cy="5670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rgbClr val="08337D"/>
                </a:solidFill>
              </a:defRPr>
            </a:lvl1pPr>
          </a:lstStyle>
          <a:p>
            <a:r>
              <a:rPr kumimoji="1" lang="ko-KR" altLang="en-US" dirty="0"/>
              <a:t>마스터 제목 스타일 편집</a:t>
            </a:r>
          </a:p>
        </p:txBody>
      </p:sp>
      <p:cxnSp>
        <p:nvCxnSpPr>
          <p:cNvPr id="9" name="직선 연결선[R] 8">
            <a:extLst>
              <a:ext uri="{FF2B5EF4-FFF2-40B4-BE49-F238E27FC236}">
                <a16:creationId xmlns:a16="http://schemas.microsoft.com/office/drawing/2014/main" id="{A23F7E88-CD47-C64F-AA16-A21FA9DCB628}"/>
              </a:ext>
            </a:extLst>
          </p:cNvPr>
          <p:cNvCxnSpPr>
            <a:cxnSpLocks/>
          </p:cNvCxnSpPr>
          <p:nvPr userDrawn="1"/>
        </p:nvCxnSpPr>
        <p:spPr>
          <a:xfrm>
            <a:off x="421286" y="428825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텍스트 개체 틀 22">
            <a:extLst>
              <a:ext uri="{FF2B5EF4-FFF2-40B4-BE49-F238E27FC236}">
                <a16:creationId xmlns:a16="http://schemas.microsoft.com/office/drawing/2014/main" id="{8CE7DF7A-0521-034B-9D9C-D7CC9FE9EC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94302" y="1933575"/>
            <a:ext cx="2128838" cy="284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kumimoji="1" lang="en-US" altLang="ko-KR" dirty="0"/>
              <a:t>3.0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대메뉴</a:t>
            </a:r>
            <a:endParaRPr kumimoji="1" lang="ko-KR" altLang="en-US" dirty="0"/>
          </a:p>
        </p:txBody>
      </p:sp>
      <p:sp>
        <p:nvSpPr>
          <p:cNvPr id="12" name="텍스트 개체 틀 22">
            <a:extLst>
              <a:ext uri="{FF2B5EF4-FFF2-40B4-BE49-F238E27FC236}">
                <a16:creationId xmlns:a16="http://schemas.microsoft.com/office/drawing/2014/main" id="{DE601024-A6D5-B64E-B963-8B21B027EA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41575" y="1933575"/>
            <a:ext cx="2128838" cy="284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kumimoji="1" lang="en-US" altLang="ko-KR" dirty="0"/>
              <a:t>1.0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대메뉴</a:t>
            </a:r>
            <a:endParaRPr kumimoji="1" lang="ko-KR" altLang="en-US" dirty="0"/>
          </a:p>
        </p:txBody>
      </p:sp>
      <p:sp>
        <p:nvSpPr>
          <p:cNvPr id="13" name="텍스트 개체 틀 22">
            <a:extLst>
              <a:ext uri="{FF2B5EF4-FFF2-40B4-BE49-F238E27FC236}">
                <a16:creationId xmlns:a16="http://schemas.microsoft.com/office/drawing/2014/main" id="{FDC0B15F-71C3-7547-8597-F1DF3AD1D3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41575" y="2274204"/>
            <a:ext cx="2128838" cy="14555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en-US" altLang="ko-KR" dirty="0"/>
              <a:t>1.1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소메뉴</a:t>
            </a:r>
            <a:endParaRPr kumimoji="1" lang="en-US" altLang="ko-KR" dirty="0"/>
          </a:p>
          <a:p>
            <a:pPr lvl="0"/>
            <a:r>
              <a:rPr kumimoji="1" lang="en-US" altLang="ko-KR" dirty="0"/>
              <a:t>1.2</a:t>
            </a:r>
          </a:p>
          <a:p>
            <a:pPr lvl="0"/>
            <a:r>
              <a:rPr kumimoji="1" lang="en-US" altLang="ko-KR" dirty="0"/>
              <a:t>1.3</a:t>
            </a:r>
            <a:endParaRPr kumimoji="1" lang="ko-KR" altLang="en-US" dirty="0"/>
          </a:p>
        </p:txBody>
      </p:sp>
      <p:sp>
        <p:nvSpPr>
          <p:cNvPr id="14" name="텍스트 개체 틀 22">
            <a:extLst>
              <a:ext uri="{FF2B5EF4-FFF2-40B4-BE49-F238E27FC236}">
                <a16:creationId xmlns:a16="http://schemas.microsoft.com/office/drawing/2014/main" id="{C261D8AB-AE63-DD4B-8D04-1D925E9A7E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67939" y="1933575"/>
            <a:ext cx="2128838" cy="28416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/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ko-KR" dirty="0"/>
              <a:t>2.0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대메뉴</a:t>
            </a:r>
            <a:endParaRPr kumimoji="1" lang="ko-KR" altLang="en-US" dirty="0"/>
          </a:p>
        </p:txBody>
      </p:sp>
      <p:sp>
        <p:nvSpPr>
          <p:cNvPr id="15" name="텍스트 개체 틀 22">
            <a:extLst>
              <a:ext uri="{FF2B5EF4-FFF2-40B4-BE49-F238E27FC236}">
                <a16:creationId xmlns:a16="http://schemas.microsoft.com/office/drawing/2014/main" id="{4CB4FA67-AA04-D848-B5FA-6D5B9F6CEB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656" y="2274204"/>
            <a:ext cx="2128838" cy="14555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en-US" altLang="ko-KR" dirty="0"/>
              <a:t>2.1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소메뉴</a:t>
            </a:r>
            <a:endParaRPr kumimoji="1" lang="en-US" altLang="ko-KR" dirty="0"/>
          </a:p>
          <a:p>
            <a:pPr lvl="0"/>
            <a:r>
              <a:rPr kumimoji="1" lang="en-US" altLang="ko-KR" dirty="0"/>
              <a:t>2.2</a:t>
            </a:r>
          </a:p>
          <a:p>
            <a:pPr lvl="0"/>
            <a:r>
              <a:rPr kumimoji="1" lang="en-US" altLang="ko-KR" dirty="0"/>
              <a:t>2.3</a:t>
            </a:r>
            <a:endParaRPr kumimoji="1" lang="ko-KR" altLang="en-US" dirty="0"/>
          </a:p>
        </p:txBody>
      </p:sp>
      <p:sp>
        <p:nvSpPr>
          <p:cNvPr id="16" name="텍스트 개체 틀 22">
            <a:extLst>
              <a:ext uri="{FF2B5EF4-FFF2-40B4-BE49-F238E27FC236}">
                <a16:creationId xmlns:a16="http://schemas.microsoft.com/office/drawing/2014/main" id="{29F6024F-1598-FF4F-A632-8639251744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94302" y="2274204"/>
            <a:ext cx="2128838" cy="14555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en-US" altLang="ko-KR" dirty="0"/>
              <a:t>3.1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소메뉴</a:t>
            </a:r>
            <a:endParaRPr kumimoji="1" lang="en-US" altLang="ko-KR" dirty="0"/>
          </a:p>
          <a:p>
            <a:pPr lvl="0"/>
            <a:r>
              <a:rPr kumimoji="1" lang="en-US" altLang="ko-KR" dirty="0"/>
              <a:t>3.2</a:t>
            </a:r>
          </a:p>
          <a:p>
            <a:pPr lvl="0"/>
            <a:r>
              <a:rPr kumimoji="1" lang="en-US" altLang="ko-KR" dirty="0"/>
              <a:t>3.3</a:t>
            </a:r>
            <a:endParaRPr kumimoji="1" lang="ko-KR" altLang="en-US" dirty="0"/>
          </a:p>
        </p:txBody>
      </p:sp>
      <p:sp>
        <p:nvSpPr>
          <p:cNvPr id="17" name="텍스트 개체 틀 22">
            <a:extLst>
              <a:ext uri="{FF2B5EF4-FFF2-40B4-BE49-F238E27FC236}">
                <a16:creationId xmlns:a16="http://schemas.microsoft.com/office/drawing/2014/main" id="{826FA9FD-98A7-B245-916F-11E59FDB1F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41575" y="3921073"/>
            <a:ext cx="2128838" cy="284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kumimoji="1" lang="en-US" altLang="ko-KR" dirty="0"/>
              <a:t>4.0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대메뉴</a:t>
            </a:r>
            <a:endParaRPr kumimoji="1" lang="ko-KR" altLang="en-US" dirty="0"/>
          </a:p>
        </p:txBody>
      </p:sp>
      <p:sp>
        <p:nvSpPr>
          <p:cNvPr id="18" name="텍스트 개체 틀 22">
            <a:extLst>
              <a:ext uri="{FF2B5EF4-FFF2-40B4-BE49-F238E27FC236}">
                <a16:creationId xmlns:a16="http://schemas.microsoft.com/office/drawing/2014/main" id="{710D233E-DBD8-0245-8FE3-DAF4486099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41575" y="4261702"/>
            <a:ext cx="2128838" cy="14555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en-US" altLang="ko-KR" dirty="0"/>
              <a:t>4.1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소메뉴</a:t>
            </a:r>
            <a:endParaRPr kumimoji="1" lang="en-US" altLang="ko-KR" dirty="0"/>
          </a:p>
          <a:p>
            <a:pPr lvl="0"/>
            <a:r>
              <a:rPr kumimoji="1" lang="en-US" altLang="ko-KR" dirty="0"/>
              <a:t>4.2</a:t>
            </a:r>
          </a:p>
          <a:p>
            <a:pPr lvl="0"/>
            <a:r>
              <a:rPr kumimoji="1" lang="en-US" altLang="ko-KR" dirty="0"/>
              <a:t>4.3</a:t>
            </a:r>
            <a:endParaRPr kumimoji="1" lang="ko-KR" altLang="en-US" dirty="0"/>
          </a:p>
        </p:txBody>
      </p:sp>
      <p:sp>
        <p:nvSpPr>
          <p:cNvPr id="19" name="텍스트 개체 틀 22">
            <a:extLst>
              <a:ext uri="{FF2B5EF4-FFF2-40B4-BE49-F238E27FC236}">
                <a16:creationId xmlns:a16="http://schemas.microsoft.com/office/drawing/2014/main" id="{6984179C-91E1-4F4F-87A7-9F129C1F6E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7939" y="3921073"/>
            <a:ext cx="2128838" cy="28416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/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ko-KR" dirty="0"/>
              <a:t>5.0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대메뉴</a:t>
            </a:r>
            <a:endParaRPr kumimoji="1" lang="ko-KR" altLang="en-US" dirty="0"/>
          </a:p>
        </p:txBody>
      </p:sp>
      <p:sp>
        <p:nvSpPr>
          <p:cNvPr id="20" name="텍스트 개체 틀 22">
            <a:extLst>
              <a:ext uri="{FF2B5EF4-FFF2-40B4-BE49-F238E27FC236}">
                <a16:creationId xmlns:a16="http://schemas.microsoft.com/office/drawing/2014/main" id="{79926EDE-07C6-B04C-A345-048386D175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72656" y="4261702"/>
            <a:ext cx="2128838" cy="14555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en-US" altLang="ko-KR" dirty="0"/>
              <a:t>5.1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소메뉴</a:t>
            </a:r>
            <a:endParaRPr kumimoji="1" lang="en-US" altLang="ko-KR" dirty="0"/>
          </a:p>
          <a:p>
            <a:pPr lvl="0"/>
            <a:r>
              <a:rPr kumimoji="1" lang="en-US" altLang="ko-KR" dirty="0"/>
              <a:t>5.2</a:t>
            </a:r>
          </a:p>
          <a:p>
            <a:pPr lvl="0"/>
            <a:r>
              <a:rPr kumimoji="1" lang="en-US" altLang="ko-KR" dirty="0"/>
              <a:t>5.3</a:t>
            </a:r>
            <a:endParaRPr kumimoji="1" lang="ko-KR" altLang="en-US" dirty="0"/>
          </a:p>
        </p:txBody>
      </p:sp>
      <p:sp>
        <p:nvSpPr>
          <p:cNvPr id="21" name="슬라이드 번호 개체 틀 2">
            <a:extLst>
              <a:ext uri="{FF2B5EF4-FFF2-40B4-BE49-F238E27FC236}">
                <a16:creationId xmlns:a16="http://schemas.microsoft.com/office/drawing/2014/main" id="{05E5F33A-2966-5348-8761-5B3FE67CA92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24" name="텍스트 개체 틀 19">
            <a:extLst>
              <a:ext uri="{FF2B5EF4-FFF2-40B4-BE49-F238E27FC236}">
                <a16:creationId xmlns:a16="http://schemas.microsoft.com/office/drawing/2014/main" id="{0827882B-FCF9-7249-9CAD-89A06E952A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983169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id="{D40C92A9-CD40-9D4D-8B8C-335182442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634" y="506913"/>
            <a:ext cx="8383080" cy="5670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rgbClr val="08337D"/>
                </a:solidFill>
              </a:defRPr>
            </a:lvl1pPr>
          </a:lstStyle>
          <a:p>
            <a:r>
              <a:rPr kumimoji="1" lang="ko-KR" altLang="en-US" dirty="0"/>
              <a:t>마스터 제목 스타일 편집</a:t>
            </a:r>
          </a:p>
        </p:txBody>
      </p:sp>
      <p:cxnSp>
        <p:nvCxnSpPr>
          <p:cNvPr id="5" name="직선 연결선[R] 4">
            <a:extLst>
              <a:ext uri="{FF2B5EF4-FFF2-40B4-BE49-F238E27FC236}">
                <a16:creationId xmlns:a16="http://schemas.microsoft.com/office/drawing/2014/main" id="{B9F2E49D-0090-F44F-82E9-54ED5AB6645D}"/>
              </a:ext>
            </a:extLst>
          </p:cNvPr>
          <p:cNvCxnSpPr>
            <a:cxnSpLocks/>
          </p:cNvCxnSpPr>
          <p:nvPr userDrawn="1"/>
        </p:nvCxnSpPr>
        <p:spPr>
          <a:xfrm>
            <a:off x="421286" y="428825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슬라이드 번호 개체 틀 2">
            <a:extLst>
              <a:ext uri="{FF2B5EF4-FFF2-40B4-BE49-F238E27FC236}">
                <a16:creationId xmlns:a16="http://schemas.microsoft.com/office/drawing/2014/main" id="{860A5178-AACC-4F4D-B45C-1AC538A44D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9" name="텍스트 개체 틀 19">
            <a:extLst>
              <a:ext uri="{FF2B5EF4-FFF2-40B4-BE49-F238E27FC236}">
                <a16:creationId xmlns:a16="http://schemas.microsoft.com/office/drawing/2014/main" id="{3D2BDB8E-E617-9F4E-8881-CDBA61F571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13857877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2">
            <a:extLst>
              <a:ext uri="{FF2B5EF4-FFF2-40B4-BE49-F238E27FC236}">
                <a16:creationId xmlns:a16="http://schemas.microsoft.com/office/drawing/2014/main" id="{860A5178-AACC-4F4D-B45C-1AC538A44D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9" name="텍스트 개체 틀 19">
            <a:extLst>
              <a:ext uri="{FF2B5EF4-FFF2-40B4-BE49-F238E27FC236}">
                <a16:creationId xmlns:a16="http://schemas.microsoft.com/office/drawing/2014/main" id="{3D2BDB8E-E617-9F4E-8881-CDBA61F571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41795830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0" y="0"/>
            <a:ext cx="9144000" cy="576000"/>
          </a:xfrm>
          <a:prstGeom prst="rect">
            <a:avLst/>
          </a:prstGeom>
          <a:solidFill>
            <a:srgbClr val="053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179513" y="91742"/>
            <a:ext cx="5976663" cy="414938"/>
          </a:xfrm>
          <a:prstGeom prst="rect">
            <a:avLst/>
          </a:prstGeom>
        </p:spPr>
        <p:txBody>
          <a:bodyPr anchor="ctr"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36"/>
          <p:cNvSpPr>
            <a:spLocks noGrp="1"/>
          </p:cNvSpPr>
          <p:nvPr>
            <p:ph type="body" sz="quarter" idx="19" hasCustomPrompt="1"/>
          </p:nvPr>
        </p:nvSpPr>
        <p:spPr>
          <a:xfrm>
            <a:off x="179511" y="626892"/>
            <a:ext cx="8774623" cy="647300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400" b="1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400" b="1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400" b="1"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본 슬라이드의 핵심 메시지를 입력하세요</a:t>
            </a:r>
            <a:r>
              <a:rPr lang="en-US" altLang="ko-KR" dirty="0"/>
              <a:t>(16</a:t>
            </a:r>
            <a:r>
              <a:rPr lang="ko-KR" altLang="en-US" dirty="0"/>
              <a:t>폰트</a:t>
            </a:r>
            <a:r>
              <a:rPr lang="en-US" altLang="ko-KR" dirty="0"/>
              <a:t>)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/>
          </a:p>
        </p:txBody>
      </p:sp>
      <p:sp>
        <p:nvSpPr>
          <p:cNvPr id="9" name="텍스트 개체 틀 1"/>
          <p:cNvSpPr>
            <a:spLocks noGrp="1"/>
          </p:cNvSpPr>
          <p:nvPr>
            <p:ph type="body" sz="quarter" idx="11"/>
          </p:nvPr>
        </p:nvSpPr>
        <p:spPr>
          <a:xfrm>
            <a:off x="6446631" y="292884"/>
            <a:ext cx="2493039" cy="216000"/>
          </a:xfrm>
        </p:spPr>
        <p:txBody>
          <a:bodyPr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endParaRPr lang="ko-KR" altLang="en-US" dirty="0"/>
          </a:p>
        </p:txBody>
      </p:sp>
      <p:sp>
        <p:nvSpPr>
          <p:cNvPr id="11" name="Rectangle 2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37117" y="6556524"/>
            <a:ext cx="869766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88" tIns="44450" rIns="90488" bIns="44450">
            <a:spAutoFit/>
          </a:bodyPr>
          <a:lstStyle/>
          <a:p>
            <a:pPr algn="ctr" defTabSz="762000">
              <a:defRPr/>
            </a:pPr>
            <a:fld id="{F1C0AC2C-357D-48B5-9B9F-B938ABE0BBCE}" type="slidenum">
              <a:rPr lang="en-US" altLang="ko-KR" sz="900" smtClean="0">
                <a:latin typeface="+mn-ea"/>
                <a:ea typeface="+mn-ea"/>
              </a:rPr>
              <a:pPr algn="ctr" defTabSz="762000">
                <a:defRPr/>
              </a:pPr>
              <a:t>‹#›</a:t>
            </a:fld>
            <a:r>
              <a:rPr lang="en-US" altLang="ko-KR" sz="900" dirty="0">
                <a:latin typeface="+mn-ea"/>
                <a:ea typeface="+mn-ea"/>
              </a:rPr>
              <a:t> </a:t>
            </a:r>
          </a:p>
        </p:txBody>
      </p:sp>
      <p:sp>
        <p:nvSpPr>
          <p:cNvPr id="16" name="텍스트 개체 틀 1"/>
          <p:cNvSpPr>
            <a:spLocks noGrp="1"/>
          </p:cNvSpPr>
          <p:nvPr>
            <p:ph type="body" sz="quarter" idx="20"/>
          </p:nvPr>
        </p:nvSpPr>
        <p:spPr>
          <a:xfrm>
            <a:off x="122807" y="6421435"/>
            <a:ext cx="1966600" cy="216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</a:lstStyle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52555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orient="horz" pos="845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pos="2880">
          <p15:clr>
            <a:srgbClr val="FBAE40"/>
          </p15:clr>
        </p15:guide>
        <p15:guide id="5" pos="5647">
          <p15:clr>
            <a:srgbClr val="FBAE40"/>
          </p15:clr>
        </p15:guide>
        <p15:guide id="6" pos="1156">
          <p15:clr>
            <a:srgbClr val="FBAE40"/>
          </p15:clr>
        </p15:guide>
        <p15:guide id="8" orient="horz" pos="391">
          <p15:clr>
            <a:srgbClr val="FBAE40"/>
          </p15:clr>
        </p15:guide>
        <p15:guide id="9" pos="11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 userDrawn="1"/>
        </p:nvSpPr>
        <p:spPr>
          <a:xfrm>
            <a:off x="0" y="6757074"/>
            <a:ext cx="9144000" cy="100926"/>
          </a:xfrm>
          <a:prstGeom prst="rect">
            <a:avLst/>
          </a:prstGeom>
          <a:solidFill>
            <a:srgbClr val="053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56348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제목 1">
            <a:extLst>
              <a:ext uri="{FF2B5EF4-FFF2-40B4-BE49-F238E27FC236}">
                <a16:creationId xmlns:a16="http://schemas.microsoft.com/office/drawing/2014/main" id="{BB62150D-9165-D940-B9DF-A325828A39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cxnSp>
        <p:nvCxnSpPr>
          <p:cNvPr id="7" name="직선 연결선[R] 6">
            <a:extLst>
              <a:ext uri="{FF2B5EF4-FFF2-40B4-BE49-F238E27FC236}">
                <a16:creationId xmlns:a16="http://schemas.microsoft.com/office/drawing/2014/main" id="{4CF87E29-218E-174F-9BB9-E985FDFC88EA}"/>
              </a:ext>
            </a:extLst>
          </p:cNvPr>
          <p:cNvCxnSpPr>
            <a:cxnSpLocks/>
          </p:cNvCxnSpPr>
          <p:nvPr userDrawn="1"/>
        </p:nvCxnSpPr>
        <p:spPr>
          <a:xfrm>
            <a:off x="421286" y="987081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텍스트 개체 틀 3">
            <a:extLst>
              <a:ext uri="{FF2B5EF4-FFF2-40B4-BE49-F238E27FC236}">
                <a16:creationId xmlns:a16="http://schemas.microsoft.com/office/drawing/2014/main" id="{CF9D6095-39D8-E54A-8C6D-6DEDB76A709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256" y="1553739"/>
            <a:ext cx="8290346" cy="45137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텍스트 개체 틀 22">
            <a:extLst>
              <a:ext uri="{FF2B5EF4-FFF2-40B4-BE49-F238E27FC236}">
                <a16:creationId xmlns:a16="http://schemas.microsoft.com/office/drawing/2014/main" id="{A1D8BE92-B96F-3848-A881-504D8ABC91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3256" y="1200168"/>
            <a:ext cx="8301428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2" name="슬라이드 번호 개체 틀 2">
            <a:extLst>
              <a:ext uri="{FF2B5EF4-FFF2-40B4-BE49-F238E27FC236}">
                <a16:creationId xmlns:a16="http://schemas.microsoft.com/office/drawing/2014/main" id="{B226B6A9-5CF7-A64F-9C37-0A32B367EC7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3" name="텍스트 개체 틀 19">
            <a:extLst>
              <a:ext uri="{FF2B5EF4-FFF2-40B4-BE49-F238E27FC236}">
                <a16:creationId xmlns:a16="http://schemas.microsoft.com/office/drawing/2014/main" id="{DB616754-8FB7-8545-828C-EF0691F7E7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11618501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제목 1">
            <a:extLst>
              <a:ext uri="{FF2B5EF4-FFF2-40B4-BE49-F238E27FC236}">
                <a16:creationId xmlns:a16="http://schemas.microsoft.com/office/drawing/2014/main" id="{BB62150D-9165-D940-B9DF-A325828A39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21" name="내용 개체 틀 20">
            <a:extLst>
              <a:ext uri="{FF2B5EF4-FFF2-40B4-BE49-F238E27FC236}">
                <a16:creationId xmlns:a16="http://schemas.microsoft.com/office/drawing/2014/main" id="{96970936-A0E6-2043-A8DD-93E350015B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248" y="1250744"/>
            <a:ext cx="8290346" cy="48167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cxnSp>
        <p:nvCxnSpPr>
          <p:cNvPr id="7" name="직선 연결선[R] 6">
            <a:extLst>
              <a:ext uri="{FF2B5EF4-FFF2-40B4-BE49-F238E27FC236}">
                <a16:creationId xmlns:a16="http://schemas.microsoft.com/office/drawing/2014/main" id="{4CF87E29-218E-174F-9BB9-E985FDFC88EA}"/>
              </a:ext>
            </a:extLst>
          </p:cNvPr>
          <p:cNvCxnSpPr>
            <a:cxnSpLocks/>
          </p:cNvCxnSpPr>
          <p:nvPr userDrawn="1"/>
        </p:nvCxnSpPr>
        <p:spPr>
          <a:xfrm>
            <a:off x="421286" y="987081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슬라이드 번호 개체 틀 2">
            <a:extLst>
              <a:ext uri="{FF2B5EF4-FFF2-40B4-BE49-F238E27FC236}">
                <a16:creationId xmlns:a16="http://schemas.microsoft.com/office/drawing/2014/main" id="{2A189D2D-8C51-EA42-BE5C-86BBFC9CCD6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1" name="텍스트 개체 틀 19">
            <a:extLst>
              <a:ext uri="{FF2B5EF4-FFF2-40B4-BE49-F238E27FC236}">
                <a16:creationId xmlns:a16="http://schemas.microsoft.com/office/drawing/2014/main" id="{CF0E2934-DF0D-264B-AE5A-3BD33BCFC3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24041187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제목 1">
            <a:extLst>
              <a:ext uri="{FF2B5EF4-FFF2-40B4-BE49-F238E27FC236}">
                <a16:creationId xmlns:a16="http://schemas.microsoft.com/office/drawing/2014/main" id="{BB62150D-9165-D940-B9DF-A325828A39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21" name="내용 개체 틀 20">
            <a:extLst>
              <a:ext uri="{FF2B5EF4-FFF2-40B4-BE49-F238E27FC236}">
                <a16:creationId xmlns:a16="http://schemas.microsoft.com/office/drawing/2014/main" id="{96970936-A0E6-2043-A8DD-93E350015B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248" y="2364307"/>
            <a:ext cx="8290346" cy="37031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cxnSp>
        <p:nvCxnSpPr>
          <p:cNvPr id="7" name="직선 연결선[R] 6">
            <a:extLst>
              <a:ext uri="{FF2B5EF4-FFF2-40B4-BE49-F238E27FC236}">
                <a16:creationId xmlns:a16="http://schemas.microsoft.com/office/drawing/2014/main" id="{4CF87E29-218E-174F-9BB9-E985FDFC88EA}"/>
              </a:ext>
            </a:extLst>
          </p:cNvPr>
          <p:cNvCxnSpPr>
            <a:cxnSpLocks/>
          </p:cNvCxnSpPr>
          <p:nvPr userDrawn="1"/>
        </p:nvCxnSpPr>
        <p:spPr>
          <a:xfrm>
            <a:off x="421286" y="987081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텍스트 개체 틀 3">
            <a:extLst>
              <a:ext uri="{FF2B5EF4-FFF2-40B4-BE49-F238E27FC236}">
                <a16:creationId xmlns:a16="http://schemas.microsoft.com/office/drawing/2014/main" id="{22910CE6-D47B-B54D-A1CB-2FC87EABA91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256" y="1553739"/>
            <a:ext cx="8290346" cy="69946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텍스트 개체 틀 22">
            <a:extLst>
              <a:ext uri="{FF2B5EF4-FFF2-40B4-BE49-F238E27FC236}">
                <a16:creationId xmlns:a16="http://schemas.microsoft.com/office/drawing/2014/main" id="{E8D9E4DF-6DA3-A445-A074-8F0EE74BD5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3256" y="1200168"/>
            <a:ext cx="8301428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2" name="슬라이드 번호 개체 틀 2">
            <a:extLst>
              <a:ext uri="{FF2B5EF4-FFF2-40B4-BE49-F238E27FC236}">
                <a16:creationId xmlns:a16="http://schemas.microsoft.com/office/drawing/2014/main" id="{61D489BE-FDB4-C14D-ACA4-ED561A3A9C1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6" name="텍스트 개체 틀 19">
            <a:extLst>
              <a:ext uri="{FF2B5EF4-FFF2-40B4-BE49-F238E27FC236}">
                <a16:creationId xmlns:a16="http://schemas.microsoft.com/office/drawing/2014/main" id="{E1BCD834-E9EC-2845-9FDE-D036785281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37096452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텍스트 개체 틀 22">
            <a:extLst>
              <a:ext uri="{FF2B5EF4-FFF2-40B4-BE49-F238E27FC236}">
                <a16:creationId xmlns:a16="http://schemas.microsoft.com/office/drawing/2014/main" id="{0BC2671D-740D-F14D-BA43-CF54ED679A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0503" y="1200168"/>
            <a:ext cx="4090409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9" name="텍스트 개체 틀 3">
            <a:extLst>
              <a:ext uri="{FF2B5EF4-FFF2-40B4-BE49-F238E27FC236}">
                <a16:creationId xmlns:a16="http://schemas.microsoft.com/office/drawing/2014/main" id="{24DC9E40-6372-8E4E-8B10-468F7A9A8C0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627462" y="1553739"/>
            <a:ext cx="4093451" cy="4513753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1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08337D"/>
              </a:buClr>
              <a:buSzPct val="60000"/>
              <a:buFont typeface="Wingdings" pitchFamily="2" charset="2"/>
              <a:buChar char="l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irst level bullet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6pt</a:t>
            </a:r>
          </a:p>
        </p:txBody>
      </p:sp>
      <p:sp>
        <p:nvSpPr>
          <p:cNvPr id="21" name="텍스트 개체 틀 3">
            <a:extLst>
              <a:ext uri="{FF2B5EF4-FFF2-40B4-BE49-F238E27FC236}">
                <a16:creationId xmlns:a16="http://schemas.microsoft.com/office/drawing/2014/main" id="{8183A9BC-0511-C34F-B937-A33A6E6F2A41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313889" y="1553739"/>
            <a:ext cx="4093451" cy="45137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텍스트 개체 틀 22">
            <a:extLst>
              <a:ext uri="{FF2B5EF4-FFF2-40B4-BE49-F238E27FC236}">
                <a16:creationId xmlns:a16="http://schemas.microsoft.com/office/drawing/2014/main" id="{9D5D756C-505C-934C-9FC3-8A89D4846B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3256" y="1200168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5" name="제목 1">
            <a:extLst>
              <a:ext uri="{FF2B5EF4-FFF2-40B4-BE49-F238E27FC236}">
                <a16:creationId xmlns:a16="http://schemas.microsoft.com/office/drawing/2014/main" id="{A73B9621-EE63-584E-9ABF-83D40E97B5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11" name="슬라이드 번호 개체 틀 2">
            <a:extLst>
              <a:ext uri="{FF2B5EF4-FFF2-40B4-BE49-F238E27FC236}">
                <a16:creationId xmlns:a16="http://schemas.microsoft.com/office/drawing/2014/main" id="{40B0F005-7653-184F-919C-31D722922D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3" name="텍스트 개체 틀 19">
            <a:extLst>
              <a:ext uri="{FF2B5EF4-FFF2-40B4-BE49-F238E27FC236}">
                <a16:creationId xmlns:a16="http://schemas.microsoft.com/office/drawing/2014/main" id="{5DD8FBD7-4DD9-6248-BB4B-213D841F55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  <p:cxnSp>
        <p:nvCxnSpPr>
          <p:cNvPr id="10" name="직선 연결선[R] 9">
            <a:extLst>
              <a:ext uri="{FF2B5EF4-FFF2-40B4-BE49-F238E27FC236}">
                <a16:creationId xmlns:a16="http://schemas.microsoft.com/office/drawing/2014/main" id="{126B684E-0D33-484C-9737-8A1E7C55A8B5}"/>
              </a:ext>
            </a:extLst>
          </p:cNvPr>
          <p:cNvCxnSpPr>
            <a:cxnSpLocks/>
          </p:cNvCxnSpPr>
          <p:nvPr userDrawn="1"/>
        </p:nvCxnSpPr>
        <p:spPr>
          <a:xfrm>
            <a:off x="421286" y="987081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10583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내용 개체 틀 20">
            <a:extLst>
              <a:ext uri="{FF2B5EF4-FFF2-40B4-BE49-F238E27FC236}">
                <a16:creationId xmlns:a16="http://schemas.microsoft.com/office/drawing/2014/main" id="{A1E983D7-61DE-5E40-A0C2-4840FFECD8E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248" y="1250745"/>
            <a:ext cx="3997962" cy="48167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15" name="내용 개체 틀 20">
            <a:extLst>
              <a:ext uri="{FF2B5EF4-FFF2-40B4-BE49-F238E27FC236}">
                <a16:creationId xmlns:a16="http://schemas.microsoft.com/office/drawing/2014/main" id="{33732C0B-2CBF-D94B-A7E2-353DB659BFC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29707" y="1250745"/>
            <a:ext cx="3997962" cy="48167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725AE3C4-58CC-0944-BFF6-E1AE036D5B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cxnSp>
        <p:nvCxnSpPr>
          <p:cNvPr id="12" name="직선 연결선[R] 11">
            <a:extLst>
              <a:ext uri="{FF2B5EF4-FFF2-40B4-BE49-F238E27FC236}">
                <a16:creationId xmlns:a16="http://schemas.microsoft.com/office/drawing/2014/main" id="{AB39E7F7-2526-494A-8B39-E79E9A00D54C}"/>
              </a:ext>
            </a:extLst>
          </p:cNvPr>
          <p:cNvCxnSpPr>
            <a:cxnSpLocks/>
          </p:cNvCxnSpPr>
          <p:nvPr userDrawn="1"/>
        </p:nvCxnSpPr>
        <p:spPr>
          <a:xfrm>
            <a:off x="421286" y="987081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슬라이드 번호 개체 틀 2">
            <a:extLst>
              <a:ext uri="{FF2B5EF4-FFF2-40B4-BE49-F238E27FC236}">
                <a16:creationId xmlns:a16="http://schemas.microsoft.com/office/drawing/2014/main" id="{2F0E1D0D-4758-2E47-89E0-E779B96D10C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8" name="텍스트 개체 틀 19">
            <a:extLst>
              <a:ext uri="{FF2B5EF4-FFF2-40B4-BE49-F238E27FC236}">
                <a16:creationId xmlns:a16="http://schemas.microsoft.com/office/drawing/2014/main" id="{E8BA851E-3D5D-CE4D-9ACD-AE56180BB7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11209735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제목 1">
            <a:extLst>
              <a:ext uri="{FF2B5EF4-FFF2-40B4-BE49-F238E27FC236}">
                <a16:creationId xmlns:a16="http://schemas.microsoft.com/office/drawing/2014/main" id="{BB62150D-9165-D940-B9DF-A325828A39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23616669-85DA-E84E-9170-F974EC0295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cxnSp>
        <p:nvCxnSpPr>
          <p:cNvPr id="7" name="직선 연결선[R] 6">
            <a:extLst>
              <a:ext uri="{FF2B5EF4-FFF2-40B4-BE49-F238E27FC236}">
                <a16:creationId xmlns:a16="http://schemas.microsoft.com/office/drawing/2014/main" id="{4CF87E29-218E-174F-9BB9-E985FDFC88EA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텍스트 개체 틀 3">
            <a:extLst>
              <a:ext uri="{FF2B5EF4-FFF2-40B4-BE49-F238E27FC236}">
                <a16:creationId xmlns:a16="http://schemas.microsoft.com/office/drawing/2014/main" id="{CF9D6095-39D8-E54A-8C6D-6DEDB76A709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256" y="1907000"/>
            <a:ext cx="8290346" cy="41604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텍스트 개체 틀 22">
            <a:extLst>
              <a:ext uri="{FF2B5EF4-FFF2-40B4-BE49-F238E27FC236}">
                <a16:creationId xmlns:a16="http://schemas.microsoft.com/office/drawing/2014/main" id="{A1D8BE92-B96F-3848-A881-504D8ABC91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3256" y="1553429"/>
            <a:ext cx="8301428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2" name="슬라이드 번호 개체 틀 2">
            <a:extLst>
              <a:ext uri="{FF2B5EF4-FFF2-40B4-BE49-F238E27FC236}">
                <a16:creationId xmlns:a16="http://schemas.microsoft.com/office/drawing/2014/main" id="{B226B6A9-5CF7-A64F-9C37-0A32B367EC7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3" name="텍스트 개체 틀 19">
            <a:extLst>
              <a:ext uri="{FF2B5EF4-FFF2-40B4-BE49-F238E27FC236}">
                <a16:creationId xmlns:a16="http://schemas.microsoft.com/office/drawing/2014/main" id="{DB616754-8FB7-8545-828C-EF0691F7E7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10456208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텍스트 개체 틀 3">
            <a:extLst>
              <a:ext uri="{FF2B5EF4-FFF2-40B4-BE49-F238E27FC236}">
                <a16:creationId xmlns:a16="http://schemas.microsoft.com/office/drawing/2014/main" id="{47CC8B4B-01C0-F141-B112-585451B6821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627462" y="1553739"/>
            <a:ext cx="4093451" cy="44897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79F78CC6-436E-D64D-AB2B-4B17829625E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cxnSp>
        <p:nvCxnSpPr>
          <p:cNvPr id="20" name="직선 연결선[R] 19">
            <a:extLst>
              <a:ext uri="{FF2B5EF4-FFF2-40B4-BE49-F238E27FC236}">
                <a16:creationId xmlns:a16="http://schemas.microsoft.com/office/drawing/2014/main" id="{B90F2476-517A-B94E-89BC-AB5D926FB5BE}"/>
              </a:ext>
            </a:extLst>
          </p:cNvPr>
          <p:cNvCxnSpPr>
            <a:cxnSpLocks/>
          </p:cNvCxnSpPr>
          <p:nvPr userDrawn="1"/>
        </p:nvCxnSpPr>
        <p:spPr>
          <a:xfrm>
            <a:off x="421286" y="987081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텍스트 개체 틀 22">
            <a:extLst>
              <a:ext uri="{FF2B5EF4-FFF2-40B4-BE49-F238E27FC236}">
                <a16:creationId xmlns:a16="http://schemas.microsoft.com/office/drawing/2014/main" id="{A6063A8C-A9EA-A14F-BF18-F3A520DC196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630503" y="1200168"/>
            <a:ext cx="4090409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1" name="슬라이드 번호 개체 틀 2">
            <a:extLst>
              <a:ext uri="{FF2B5EF4-FFF2-40B4-BE49-F238E27FC236}">
                <a16:creationId xmlns:a16="http://schemas.microsoft.com/office/drawing/2014/main" id="{050000BB-0209-4B47-B63A-D095A5D3D0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3" name="텍스트 개체 틀 19">
            <a:extLst>
              <a:ext uri="{FF2B5EF4-FFF2-40B4-BE49-F238E27FC236}">
                <a16:creationId xmlns:a16="http://schemas.microsoft.com/office/drawing/2014/main" id="{BAEC77C8-043A-5149-8F5D-45B81AC3FA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  <p:sp>
        <p:nvSpPr>
          <p:cNvPr id="15" name="내용 개체 틀 20">
            <a:extLst>
              <a:ext uri="{FF2B5EF4-FFF2-40B4-BE49-F238E27FC236}">
                <a16:creationId xmlns:a16="http://schemas.microsoft.com/office/drawing/2014/main" id="{749FA8F5-CB8F-B94E-9083-2505169B16E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248" y="1250745"/>
            <a:ext cx="3997962" cy="48167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845420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텍스트 개체 틀 3">
            <a:extLst>
              <a:ext uri="{FF2B5EF4-FFF2-40B4-BE49-F238E27FC236}">
                <a16:creationId xmlns:a16="http://schemas.microsoft.com/office/drawing/2014/main" id="{7C042A27-98E7-5C4A-BA5D-BDBE19477EA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889" y="1553739"/>
            <a:ext cx="4093451" cy="452596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텍스트 개체 틀 22">
            <a:extLst>
              <a:ext uri="{FF2B5EF4-FFF2-40B4-BE49-F238E27FC236}">
                <a16:creationId xmlns:a16="http://schemas.microsoft.com/office/drawing/2014/main" id="{8BB4E7D8-4DE3-6549-BB0F-89DD63459D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930" y="1200168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0" name="제목 1">
            <a:extLst>
              <a:ext uri="{FF2B5EF4-FFF2-40B4-BE49-F238E27FC236}">
                <a16:creationId xmlns:a16="http://schemas.microsoft.com/office/drawing/2014/main" id="{8DF08BAD-B6EF-0745-BDAE-5CC4A45471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cxnSp>
        <p:nvCxnSpPr>
          <p:cNvPr id="12" name="직선 연결선[R] 11">
            <a:extLst>
              <a:ext uri="{FF2B5EF4-FFF2-40B4-BE49-F238E27FC236}">
                <a16:creationId xmlns:a16="http://schemas.microsoft.com/office/drawing/2014/main" id="{39135111-7CAC-5642-9BD1-55BEE58B7033}"/>
              </a:ext>
            </a:extLst>
          </p:cNvPr>
          <p:cNvCxnSpPr>
            <a:cxnSpLocks/>
          </p:cNvCxnSpPr>
          <p:nvPr userDrawn="1"/>
        </p:nvCxnSpPr>
        <p:spPr>
          <a:xfrm>
            <a:off x="421286" y="987081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내용 개체 틀 20">
            <a:extLst>
              <a:ext uri="{FF2B5EF4-FFF2-40B4-BE49-F238E27FC236}">
                <a16:creationId xmlns:a16="http://schemas.microsoft.com/office/drawing/2014/main" id="{FE26543F-E84A-9040-8BE6-6F897EBA92F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29707" y="1250744"/>
            <a:ext cx="3997962" cy="48647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17" name="슬라이드 번호 개체 틀 2">
            <a:extLst>
              <a:ext uri="{FF2B5EF4-FFF2-40B4-BE49-F238E27FC236}">
                <a16:creationId xmlns:a16="http://schemas.microsoft.com/office/drawing/2014/main" id="{A5DE3793-E128-2B4F-A161-2570C004B07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20" name="텍스트 개체 틀 19">
            <a:extLst>
              <a:ext uri="{FF2B5EF4-FFF2-40B4-BE49-F238E27FC236}">
                <a16:creationId xmlns:a16="http://schemas.microsoft.com/office/drawing/2014/main" id="{64897187-946C-5E4D-B579-7D2C2B0681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18576491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내용 개체 틀 20">
            <a:extLst>
              <a:ext uri="{FF2B5EF4-FFF2-40B4-BE49-F238E27FC236}">
                <a16:creationId xmlns:a16="http://schemas.microsoft.com/office/drawing/2014/main" id="{AFBEB800-45FE-0545-B3F9-D632830C632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29707" y="1250745"/>
            <a:ext cx="3997962" cy="220659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24" name="내용 개체 틀 20">
            <a:extLst>
              <a:ext uri="{FF2B5EF4-FFF2-40B4-BE49-F238E27FC236}">
                <a16:creationId xmlns:a16="http://schemas.microsoft.com/office/drawing/2014/main" id="{BEB0B4CA-1870-A145-9ECC-30A986ED8CE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00050" y="1250745"/>
            <a:ext cx="3997962" cy="220659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19" name="텍스트 개체 틀 3">
            <a:extLst>
              <a:ext uri="{FF2B5EF4-FFF2-40B4-BE49-F238E27FC236}">
                <a16:creationId xmlns:a16="http://schemas.microsoft.com/office/drawing/2014/main" id="{1BEFC714-17E1-4C42-8EC6-22BF06B4174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889" y="4010604"/>
            <a:ext cx="8486352" cy="205687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텍스트 개체 틀 22">
            <a:extLst>
              <a:ext uri="{FF2B5EF4-FFF2-40B4-BE49-F238E27FC236}">
                <a16:creationId xmlns:a16="http://schemas.microsoft.com/office/drawing/2014/main" id="{F552ECA5-2EE3-9449-939B-5D4B9762DF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930" y="3657033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4" name="제목 1">
            <a:extLst>
              <a:ext uri="{FF2B5EF4-FFF2-40B4-BE49-F238E27FC236}">
                <a16:creationId xmlns:a16="http://schemas.microsoft.com/office/drawing/2014/main" id="{931D2E36-3780-9E4F-A0CB-5907EAF9B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cxnSp>
        <p:nvCxnSpPr>
          <p:cNvPr id="16" name="직선 연결선[R] 15">
            <a:extLst>
              <a:ext uri="{FF2B5EF4-FFF2-40B4-BE49-F238E27FC236}">
                <a16:creationId xmlns:a16="http://schemas.microsoft.com/office/drawing/2014/main" id="{B391A31B-61D6-AF4B-B0DD-64CB8F0286AF}"/>
              </a:ext>
            </a:extLst>
          </p:cNvPr>
          <p:cNvCxnSpPr>
            <a:cxnSpLocks/>
          </p:cNvCxnSpPr>
          <p:nvPr userDrawn="1"/>
        </p:nvCxnSpPr>
        <p:spPr>
          <a:xfrm>
            <a:off x="421286" y="987081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">
            <a:extLst>
              <a:ext uri="{FF2B5EF4-FFF2-40B4-BE49-F238E27FC236}">
                <a16:creationId xmlns:a16="http://schemas.microsoft.com/office/drawing/2014/main" id="{603E4703-CF1B-E643-B0AA-6D85FBD4677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8" name="텍스트 개체 틀 19">
            <a:extLst>
              <a:ext uri="{FF2B5EF4-FFF2-40B4-BE49-F238E27FC236}">
                <a16:creationId xmlns:a16="http://schemas.microsoft.com/office/drawing/2014/main" id="{A0E6E310-B832-E64E-9A1B-61D634D68D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22400644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텍스트 개체 틀 3">
            <a:extLst>
              <a:ext uri="{FF2B5EF4-FFF2-40B4-BE49-F238E27FC236}">
                <a16:creationId xmlns:a16="http://schemas.microsoft.com/office/drawing/2014/main" id="{33282E28-0078-8741-93F4-100525EB17E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889" y="4010604"/>
            <a:ext cx="4097363" cy="20568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텍스트 개체 틀 22">
            <a:extLst>
              <a:ext uri="{FF2B5EF4-FFF2-40B4-BE49-F238E27FC236}">
                <a16:creationId xmlns:a16="http://schemas.microsoft.com/office/drawing/2014/main" id="{24F5223A-62AB-6A4F-B69F-3EA5B85970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930" y="3657033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21" name="텍스트 개체 틀 3">
            <a:extLst>
              <a:ext uri="{FF2B5EF4-FFF2-40B4-BE49-F238E27FC236}">
                <a16:creationId xmlns:a16="http://schemas.microsoft.com/office/drawing/2014/main" id="{AA6041E0-66A5-544B-A450-2B82637F3D15}"/>
              </a:ext>
            </a:extLst>
          </p:cNvPr>
          <p:cNvSpPr>
            <a:spLocks noGrp="1"/>
          </p:cNvSpPr>
          <p:nvPr>
            <p:ph type="body" sz="half" idx="18" hasCustomPrompt="1"/>
          </p:nvPr>
        </p:nvSpPr>
        <p:spPr>
          <a:xfrm>
            <a:off x="4631889" y="4010604"/>
            <a:ext cx="4097363" cy="20568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텍스트 개체 틀 22">
            <a:extLst>
              <a:ext uri="{FF2B5EF4-FFF2-40B4-BE49-F238E27FC236}">
                <a16:creationId xmlns:a16="http://schemas.microsoft.com/office/drawing/2014/main" id="{EB7C5914-7914-C540-B142-AC9127F480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34930" y="3657033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2" name="내용 개체 틀 20">
            <a:extLst>
              <a:ext uri="{FF2B5EF4-FFF2-40B4-BE49-F238E27FC236}">
                <a16:creationId xmlns:a16="http://schemas.microsoft.com/office/drawing/2014/main" id="{9713D27C-A94B-394B-B8B2-636A044FB33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29707" y="1250745"/>
            <a:ext cx="3997962" cy="220659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13" name="내용 개체 틀 20">
            <a:extLst>
              <a:ext uri="{FF2B5EF4-FFF2-40B4-BE49-F238E27FC236}">
                <a16:creationId xmlns:a16="http://schemas.microsoft.com/office/drawing/2014/main" id="{0ED8D36E-B95C-2449-8BD0-F17A78FA73C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00050" y="1250745"/>
            <a:ext cx="3997962" cy="220659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14" name="제목 1">
            <a:extLst>
              <a:ext uri="{FF2B5EF4-FFF2-40B4-BE49-F238E27FC236}">
                <a16:creationId xmlns:a16="http://schemas.microsoft.com/office/drawing/2014/main" id="{38882423-33B1-D544-A844-B9817E93EA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cxnSp>
        <p:nvCxnSpPr>
          <p:cNvPr id="16" name="직선 연결선[R] 15">
            <a:extLst>
              <a:ext uri="{FF2B5EF4-FFF2-40B4-BE49-F238E27FC236}">
                <a16:creationId xmlns:a16="http://schemas.microsoft.com/office/drawing/2014/main" id="{6164AC6C-8E07-DC4A-87A8-D7231B73111D}"/>
              </a:ext>
            </a:extLst>
          </p:cNvPr>
          <p:cNvCxnSpPr>
            <a:cxnSpLocks/>
          </p:cNvCxnSpPr>
          <p:nvPr userDrawn="1"/>
        </p:nvCxnSpPr>
        <p:spPr>
          <a:xfrm>
            <a:off x="421286" y="987081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슬라이드 번호 개체 틀 2">
            <a:extLst>
              <a:ext uri="{FF2B5EF4-FFF2-40B4-BE49-F238E27FC236}">
                <a16:creationId xmlns:a16="http://schemas.microsoft.com/office/drawing/2014/main" id="{867B9BF9-3802-0A4C-91D2-EF16EEFB91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25" name="텍스트 개체 틀 19">
            <a:extLst>
              <a:ext uri="{FF2B5EF4-FFF2-40B4-BE49-F238E27FC236}">
                <a16:creationId xmlns:a16="http://schemas.microsoft.com/office/drawing/2014/main" id="{79333A9D-3488-584E-B805-BBF2B0980C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39637125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id="{82BE7989-91A9-D641-889E-09505A477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7" name="슬라이드 번호 개체 틀 2">
            <a:extLst>
              <a:ext uri="{FF2B5EF4-FFF2-40B4-BE49-F238E27FC236}">
                <a16:creationId xmlns:a16="http://schemas.microsoft.com/office/drawing/2014/main" id="{62F20E41-BFAC-9245-BEF7-10CD71C247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0" name="텍스트 개체 틀 19">
            <a:extLst>
              <a:ext uri="{FF2B5EF4-FFF2-40B4-BE49-F238E27FC236}">
                <a16:creationId xmlns:a16="http://schemas.microsoft.com/office/drawing/2014/main" id="{190B7FBF-5D90-764B-B78A-13309CDF7A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  <p:cxnSp>
        <p:nvCxnSpPr>
          <p:cNvPr id="6" name="직선 연결선[R] 5">
            <a:extLst>
              <a:ext uri="{FF2B5EF4-FFF2-40B4-BE49-F238E27FC236}">
                <a16:creationId xmlns:a16="http://schemas.microsoft.com/office/drawing/2014/main" id="{4AEF24F8-6FD9-2248-A765-819EBBF4016F}"/>
              </a:ext>
            </a:extLst>
          </p:cNvPr>
          <p:cNvCxnSpPr>
            <a:cxnSpLocks/>
          </p:cNvCxnSpPr>
          <p:nvPr userDrawn="1"/>
        </p:nvCxnSpPr>
        <p:spPr>
          <a:xfrm>
            <a:off x="421286" y="987081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58041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텍스트 개체 틀 3">
            <a:extLst>
              <a:ext uri="{FF2B5EF4-FFF2-40B4-BE49-F238E27FC236}">
                <a16:creationId xmlns:a16="http://schemas.microsoft.com/office/drawing/2014/main" id="{2245FF3E-4D0C-B342-B7AF-5B8382001F7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889" y="1553043"/>
            <a:ext cx="8486352" cy="13551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텍스트 개체 틀 22">
            <a:extLst>
              <a:ext uri="{FF2B5EF4-FFF2-40B4-BE49-F238E27FC236}">
                <a16:creationId xmlns:a16="http://schemas.microsoft.com/office/drawing/2014/main" id="{760A6CDA-0443-6C4B-B30C-39CA8FEA92B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930" y="1199471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06A30267-05E6-3A4B-AFE6-F0CF946C13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9" name="슬라이드 번호 개체 틀 2">
            <a:extLst>
              <a:ext uri="{FF2B5EF4-FFF2-40B4-BE49-F238E27FC236}">
                <a16:creationId xmlns:a16="http://schemas.microsoft.com/office/drawing/2014/main" id="{C7C130DF-1CE9-1A4E-8E75-2D952C6D30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4" name="텍스트 개체 틀 19">
            <a:extLst>
              <a:ext uri="{FF2B5EF4-FFF2-40B4-BE49-F238E27FC236}">
                <a16:creationId xmlns:a16="http://schemas.microsoft.com/office/drawing/2014/main" id="{C6F0566B-4D8D-7E44-AA56-1F563C66FA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  <p:cxnSp>
        <p:nvCxnSpPr>
          <p:cNvPr id="8" name="직선 연결선[R] 7">
            <a:extLst>
              <a:ext uri="{FF2B5EF4-FFF2-40B4-BE49-F238E27FC236}">
                <a16:creationId xmlns:a16="http://schemas.microsoft.com/office/drawing/2014/main" id="{B4B74FD9-EEE0-5B4B-955B-C7C9F3655EF4}"/>
              </a:ext>
            </a:extLst>
          </p:cNvPr>
          <p:cNvCxnSpPr>
            <a:cxnSpLocks/>
          </p:cNvCxnSpPr>
          <p:nvPr userDrawn="1"/>
        </p:nvCxnSpPr>
        <p:spPr>
          <a:xfrm>
            <a:off x="421286" y="987081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35303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텍스트 개체 틀 3">
            <a:extLst>
              <a:ext uri="{FF2B5EF4-FFF2-40B4-BE49-F238E27FC236}">
                <a16:creationId xmlns:a16="http://schemas.microsoft.com/office/drawing/2014/main" id="{42E51591-A9A7-8E48-AD70-5FEBB489D6C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889" y="1555871"/>
            <a:ext cx="4093451" cy="439904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텍스트 개체 틀 22">
            <a:extLst>
              <a:ext uri="{FF2B5EF4-FFF2-40B4-BE49-F238E27FC236}">
                <a16:creationId xmlns:a16="http://schemas.microsoft.com/office/drawing/2014/main" id="{B275AFB7-42E6-FA44-8121-7CE86E4F6D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930" y="1202300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615AE503-3080-F245-9229-B54BB17F62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9" name="슬라이드 번호 개체 틀 2">
            <a:extLst>
              <a:ext uri="{FF2B5EF4-FFF2-40B4-BE49-F238E27FC236}">
                <a16:creationId xmlns:a16="http://schemas.microsoft.com/office/drawing/2014/main" id="{5452F36D-5500-B340-AB51-D9511D4B4B4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4" name="텍스트 개체 틀 19">
            <a:extLst>
              <a:ext uri="{FF2B5EF4-FFF2-40B4-BE49-F238E27FC236}">
                <a16:creationId xmlns:a16="http://schemas.microsoft.com/office/drawing/2014/main" id="{D6700EF7-4996-F349-AA80-7CE6870E54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  <p:cxnSp>
        <p:nvCxnSpPr>
          <p:cNvPr id="8" name="직선 연결선[R] 7">
            <a:extLst>
              <a:ext uri="{FF2B5EF4-FFF2-40B4-BE49-F238E27FC236}">
                <a16:creationId xmlns:a16="http://schemas.microsoft.com/office/drawing/2014/main" id="{153E2972-CF05-D24F-9AAD-53671AEAE605}"/>
              </a:ext>
            </a:extLst>
          </p:cNvPr>
          <p:cNvCxnSpPr>
            <a:cxnSpLocks/>
          </p:cNvCxnSpPr>
          <p:nvPr userDrawn="1"/>
        </p:nvCxnSpPr>
        <p:spPr>
          <a:xfrm>
            <a:off x="421286" y="989213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80496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제목 1">
            <a:extLst>
              <a:ext uri="{FF2B5EF4-FFF2-40B4-BE49-F238E27FC236}">
                <a16:creationId xmlns:a16="http://schemas.microsoft.com/office/drawing/2014/main" id="{BB62150D-9165-D940-B9DF-A325828A39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23616669-85DA-E84E-9170-F974EC0295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cxnSp>
        <p:nvCxnSpPr>
          <p:cNvPr id="7" name="직선 연결선[R] 6">
            <a:extLst>
              <a:ext uri="{FF2B5EF4-FFF2-40B4-BE49-F238E27FC236}">
                <a16:creationId xmlns:a16="http://schemas.microsoft.com/office/drawing/2014/main" id="{4CF87E29-218E-174F-9BB9-E985FDFC88EA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텍스트 개체 틀 3">
            <a:extLst>
              <a:ext uri="{FF2B5EF4-FFF2-40B4-BE49-F238E27FC236}">
                <a16:creationId xmlns:a16="http://schemas.microsoft.com/office/drawing/2014/main" id="{CF9D6095-39D8-E54A-8C6D-6DEDB76A709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256" y="1907000"/>
            <a:ext cx="8290346" cy="41604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텍스트 개체 틀 22">
            <a:extLst>
              <a:ext uri="{FF2B5EF4-FFF2-40B4-BE49-F238E27FC236}">
                <a16:creationId xmlns:a16="http://schemas.microsoft.com/office/drawing/2014/main" id="{A1D8BE92-B96F-3848-A881-504D8ABC91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3256" y="1553429"/>
            <a:ext cx="8301428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2" name="슬라이드 번호 개체 틀 2">
            <a:extLst>
              <a:ext uri="{FF2B5EF4-FFF2-40B4-BE49-F238E27FC236}">
                <a16:creationId xmlns:a16="http://schemas.microsoft.com/office/drawing/2014/main" id="{B226B6A9-5CF7-A64F-9C37-0A32B367EC7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3" name="텍스트 개체 틀 19">
            <a:extLst>
              <a:ext uri="{FF2B5EF4-FFF2-40B4-BE49-F238E27FC236}">
                <a16:creationId xmlns:a16="http://schemas.microsoft.com/office/drawing/2014/main" id="{DB616754-8FB7-8545-828C-EF0691F7E7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21917551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제목 1">
            <a:extLst>
              <a:ext uri="{FF2B5EF4-FFF2-40B4-BE49-F238E27FC236}">
                <a16:creationId xmlns:a16="http://schemas.microsoft.com/office/drawing/2014/main" id="{BB62150D-9165-D940-B9DF-A325828A39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21" name="내용 개체 틀 20">
            <a:extLst>
              <a:ext uri="{FF2B5EF4-FFF2-40B4-BE49-F238E27FC236}">
                <a16:creationId xmlns:a16="http://schemas.microsoft.com/office/drawing/2014/main" id="{96970936-A0E6-2043-A8DD-93E350015B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248" y="1604006"/>
            <a:ext cx="8290346" cy="44634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23616669-85DA-E84E-9170-F974EC0295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cxnSp>
        <p:nvCxnSpPr>
          <p:cNvPr id="7" name="직선 연결선[R] 6">
            <a:extLst>
              <a:ext uri="{FF2B5EF4-FFF2-40B4-BE49-F238E27FC236}">
                <a16:creationId xmlns:a16="http://schemas.microsoft.com/office/drawing/2014/main" id="{4CF87E29-218E-174F-9BB9-E985FDFC88EA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슬라이드 번호 개체 틀 2">
            <a:extLst>
              <a:ext uri="{FF2B5EF4-FFF2-40B4-BE49-F238E27FC236}">
                <a16:creationId xmlns:a16="http://schemas.microsoft.com/office/drawing/2014/main" id="{2A189D2D-8C51-EA42-BE5C-86BBFC9CCD6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1" name="텍스트 개체 틀 19">
            <a:extLst>
              <a:ext uri="{FF2B5EF4-FFF2-40B4-BE49-F238E27FC236}">
                <a16:creationId xmlns:a16="http://schemas.microsoft.com/office/drawing/2014/main" id="{CF0E2934-DF0D-264B-AE5A-3BD33BCFC3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32861214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제목 1">
            <a:extLst>
              <a:ext uri="{FF2B5EF4-FFF2-40B4-BE49-F238E27FC236}">
                <a16:creationId xmlns:a16="http://schemas.microsoft.com/office/drawing/2014/main" id="{BB62150D-9165-D940-B9DF-A325828A39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21" name="내용 개체 틀 20">
            <a:extLst>
              <a:ext uri="{FF2B5EF4-FFF2-40B4-BE49-F238E27FC236}">
                <a16:creationId xmlns:a16="http://schemas.microsoft.com/office/drawing/2014/main" id="{96970936-A0E6-2043-A8DD-93E350015B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248" y="2717568"/>
            <a:ext cx="8290346" cy="33499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23616669-85DA-E84E-9170-F974EC0295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cxnSp>
        <p:nvCxnSpPr>
          <p:cNvPr id="7" name="직선 연결선[R] 6">
            <a:extLst>
              <a:ext uri="{FF2B5EF4-FFF2-40B4-BE49-F238E27FC236}">
                <a16:creationId xmlns:a16="http://schemas.microsoft.com/office/drawing/2014/main" id="{4CF87E29-218E-174F-9BB9-E985FDFC88EA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텍스트 개체 틀 3">
            <a:extLst>
              <a:ext uri="{FF2B5EF4-FFF2-40B4-BE49-F238E27FC236}">
                <a16:creationId xmlns:a16="http://schemas.microsoft.com/office/drawing/2014/main" id="{22910CE6-D47B-B54D-A1CB-2FC87EABA91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256" y="1907000"/>
            <a:ext cx="8290346" cy="69946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텍스트 개체 틀 22">
            <a:extLst>
              <a:ext uri="{FF2B5EF4-FFF2-40B4-BE49-F238E27FC236}">
                <a16:creationId xmlns:a16="http://schemas.microsoft.com/office/drawing/2014/main" id="{E8D9E4DF-6DA3-A445-A074-8F0EE74BD5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3256" y="1553429"/>
            <a:ext cx="8301428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2" name="슬라이드 번호 개체 틀 2">
            <a:extLst>
              <a:ext uri="{FF2B5EF4-FFF2-40B4-BE49-F238E27FC236}">
                <a16:creationId xmlns:a16="http://schemas.microsoft.com/office/drawing/2014/main" id="{61D489BE-FDB4-C14D-ACA4-ED561A3A9C1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6" name="텍스트 개체 틀 19">
            <a:extLst>
              <a:ext uri="{FF2B5EF4-FFF2-40B4-BE49-F238E27FC236}">
                <a16:creationId xmlns:a16="http://schemas.microsoft.com/office/drawing/2014/main" id="{E1BCD834-E9EC-2845-9FDE-D036785281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118531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텍스트 개체 틀 3">
            <a:extLst>
              <a:ext uri="{FF2B5EF4-FFF2-40B4-BE49-F238E27FC236}">
                <a16:creationId xmlns:a16="http://schemas.microsoft.com/office/drawing/2014/main" id="{7C042A27-98E7-5C4A-BA5D-BDBE19477EA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889" y="1907000"/>
            <a:ext cx="4093451" cy="415263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텍스트 개체 틀 22">
            <a:extLst>
              <a:ext uri="{FF2B5EF4-FFF2-40B4-BE49-F238E27FC236}">
                <a16:creationId xmlns:a16="http://schemas.microsoft.com/office/drawing/2014/main" id="{8BB4E7D8-4DE3-6549-BB0F-89DD63459D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930" y="1553429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0" name="제목 1">
            <a:extLst>
              <a:ext uri="{FF2B5EF4-FFF2-40B4-BE49-F238E27FC236}">
                <a16:creationId xmlns:a16="http://schemas.microsoft.com/office/drawing/2014/main" id="{8DF08BAD-B6EF-0745-BDAE-5CC4A45471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11" name="부제목 2">
            <a:extLst>
              <a:ext uri="{FF2B5EF4-FFF2-40B4-BE49-F238E27FC236}">
                <a16:creationId xmlns:a16="http://schemas.microsoft.com/office/drawing/2014/main" id="{BDC02FCE-8502-AA4E-92AC-7080B5476A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cxnSp>
        <p:nvCxnSpPr>
          <p:cNvPr id="12" name="직선 연결선[R] 11">
            <a:extLst>
              <a:ext uri="{FF2B5EF4-FFF2-40B4-BE49-F238E27FC236}">
                <a16:creationId xmlns:a16="http://schemas.microsoft.com/office/drawing/2014/main" id="{39135111-7CAC-5642-9BD1-55BEE58B7033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내용 개체 틀 20">
            <a:extLst>
              <a:ext uri="{FF2B5EF4-FFF2-40B4-BE49-F238E27FC236}">
                <a16:creationId xmlns:a16="http://schemas.microsoft.com/office/drawing/2014/main" id="{FE26543F-E84A-9040-8BE6-6F897EBA92F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29707" y="1604006"/>
            <a:ext cx="3997962" cy="44634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17" name="슬라이드 번호 개체 틀 2">
            <a:extLst>
              <a:ext uri="{FF2B5EF4-FFF2-40B4-BE49-F238E27FC236}">
                <a16:creationId xmlns:a16="http://schemas.microsoft.com/office/drawing/2014/main" id="{A5DE3793-E128-2B4F-A161-2570C004B07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20" name="텍스트 개체 틀 19">
            <a:extLst>
              <a:ext uri="{FF2B5EF4-FFF2-40B4-BE49-F238E27FC236}">
                <a16:creationId xmlns:a16="http://schemas.microsoft.com/office/drawing/2014/main" id="{64897187-946C-5E4D-B579-7D2C2B0681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8918779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텍스트 개체 틀 22">
            <a:extLst>
              <a:ext uri="{FF2B5EF4-FFF2-40B4-BE49-F238E27FC236}">
                <a16:creationId xmlns:a16="http://schemas.microsoft.com/office/drawing/2014/main" id="{0BC2671D-740D-F14D-BA43-CF54ED679A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0503" y="1553429"/>
            <a:ext cx="4090409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9" name="텍스트 개체 틀 3">
            <a:extLst>
              <a:ext uri="{FF2B5EF4-FFF2-40B4-BE49-F238E27FC236}">
                <a16:creationId xmlns:a16="http://schemas.microsoft.com/office/drawing/2014/main" id="{24DC9E40-6372-8E4E-8B10-468F7A9A8C0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627462" y="1907000"/>
            <a:ext cx="4093451" cy="4160493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1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08337D"/>
              </a:buClr>
              <a:buSzPct val="60000"/>
              <a:buFont typeface="Wingdings" pitchFamily="2" charset="2"/>
              <a:buChar char="l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irst level bullet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6pt</a:t>
            </a:r>
          </a:p>
        </p:txBody>
      </p:sp>
      <p:sp>
        <p:nvSpPr>
          <p:cNvPr id="21" name="텍스트 개체 틀 3">
            <a:extLst>
              <a:ext uri="{FF2B5EF4-FFF2-40B4-BE49-F238E27FC236}">
                <a16:creationId xmlns:a16="http://schemas.microsoft.com/office/drawing/2014/main" id="{8183A9BC-0511-C34F-B937-A33A6E6F2A41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313889" y="1907000"/>
            <a:ext cx="4093451" cy="41604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텍스트 개체 틀 22">
            <a:extLst>
              <a:ext uri="{FF2B5EF4-FFF2-40B4-BE49-F238E27FC236}">
                <a16:creationId xmlns:a16="http://schemas.microsoft.com/office/drawing/2014/main" id="{9D5D756C-505C-934C-9FC3-8A89D4846B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3256" y="1553429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5" name="제목 1">
            <a:extLst>
              <a:ext uri="{FF2B5EF4-FFF2-40B4-BE49-F238E27FC236}">
                <a16:creationId xmlns:a16="http://schemas.microsoft.com/office/drawing/2014/main" id="{A73B9621-EE63-584E-9ABF-83D40E97B5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16" name="부제목 2">
            <a:extLst>
              <a:ext uri="{FF2B5EF4-FFF2-40B4-BE49-F238E27FC236}">
                <a16:creationId xmlns:a16="http://schemas.microsoft.com/office/drawing/2014/main" id="{1E890B54-AC19-F546-83F4-EF7F1E2896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sp>
        <p:nvSpPr>
          <p:cNvPr id="11" name="슬라이드 번호 개체 틀 2">
            <a:extLst>
              <a:ext uri="{FF2B5EF4-FFF2-40B4-BE49-F238E27FC236}">
                <a16:creationId xmlns:a16="http://schemas.microsoft.com/office/drawing/2014/main" id="{40B0F005-7653-184F-919C-31D722922D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3" name="텍스트 개체 틀 19">
            <a:extLst>
              <a:ext uri="{FF2B5EF4-FFF2-40B4-BE49-F238E27FC236}">
                <a16:creationId xmlns:a16="http://schemas.microsoft.com/office/drawing/2014/main" id="{5DD8FBD7-4DD9-6248-BB4B-213D841F55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  <p:cxnSp>
        <p:nvCxnSpPr>
          <p:cNvPr id="10" name="직선 연결선[R] 9">
            <a:extLst>
              <a:ext uri="{FF2B5EF4-FFF2-40B4-BE49-F238E27FC236}">
                <a16:creationId xmlns:a16="http://schemas.microsoft.com/office/drawing/2014/main" id="{5194F208-5F9F-C948-A845-0DF4DF335C42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71936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내용 개체 틀 20">
            <a:extLst>
              <a:ext uri="{FF2B5EF4-FFF2-40B4-BE49-F238E27FC236}">
                <a16:creationId xmlns:a16="http://schemas.microsoft.com/office/drawing/2014/main" id="{A1E983D7-61DE-5E40-A0C2-4840FFECD8E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248" y="1604006"/>
            <a:ext cx="3997962" cy="44634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15" name="내용 개체 틀 20">
            <a:extLst>
              <a:ext uri="{FF2B5EF4-FFF2-40B4-BE49-F238E27FC236}">
                <a16:creationId xmlns:a16="http://schemas.microsoft.com/office/drawing/2014/main" id="{33732C0B-2CBF-D94B-A7E2-353DB659BFC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29707" y="1604006"/>
            <a:ext cx="3997962" cy="44634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725AE3C4-58CC-0944-BFF6-E1AE036D5B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11" name="부제목 2">
            <a:extLst>
              <a:ext uri="{FF2B5EF4-FFF2-40B4-BE49-F238E27FC236}">
                <a16:creationId xmlns:a16="http://schemas.microsoft.com/office/drawing/2014/main" id="{C77D9337-66D5-FD42-AD02-5CD5574D30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cxnSp>
        <p:nvCxnSpPr>
          <p:cNvPr id="12" name="직선 연결선[R] 11">
            <a:extLst>
              <a:ext uri="{FF2B5EF4-FFF2-40B4-BE49-F238E27FC236}">
                <a16:creationId xmlns:a16="http://schemas.microsoft.com/office/drawing/2014/main" id="{AB39E7F7-2526-494A-8B39-E79E9A00D54C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슬라이드 번호 개체 틀 2">
            <a:extLst>
              <a:ext uri="{FF2B5EF4-FFF2-40B4-BE49-F238E27FC236}">
                <a16:creationId xmlns:a16="http://schemas.microsoft.com/office/drawing/2014/main" id="{2F0E1D0D-4758-2E47-89E0-E779B96D10C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8" name="텍스트 개체 틀 19">
            <a:extLst>
              <a:ext uri="{FF2B5EF4-FFF2-40B4-BE49-F238E27FC236}">
                <a16:creationId xmlns:a16="http://schemas.microsoft.com/office/drawing/2014/main" id="{E8BA851E-3D5D-CE4D-9ACD-AE56180BB7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3694591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텍스트 개체 틀 3">
            <a:extLst>
              <a:ext uri="{FF2B5EF4-FFF2-40B4-BE49-F238E27FC236}">
                <a16:creationId xmlns:a16="http://schemas.microsoft.com/office/drawing/2014/main" id="{47CC8B4B-01C0-F141-B112-585451B6821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627462" y="1907000"/>
            <a:ext cx="4093451" cy="416049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79F78CC6-436E-D64D-AB2B-4B17829625E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19" name="부제목 2">
            <a:extLst>
              <a:ext uri="{FF2B5EF4-FFF2-40B4-BE49-F238E27FC236}">
                <a16:creationId xmlns:a16="http://schemas.microsoft.com/office/drawing/2014/main" id="{A6D47FEC-D712-A84F-A5CF-417182FAE752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cxnSp>
        <p:nvCxnSpPr>
          <p:cNvPr id="20" name="직선 연결선[R] 19">
            <a:extLst>
              <a:ext uri="{FF2B5EF4-FFF2-40B4-BE49-F238E27FC236}">
                <a16:creationId xmlns:a16="http://schemas.microsoft.com/office/drawing/2014/main" id="{B90F2476-517A-B94E-89BC-AB5D926FB5BE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텍스트 개체 틀 22">
            <a:extLst>
              <a:ext uri="{FF2B5EF4-FFF2-40B4-BE49-F238E27FC236}">
                <a16:creationId xmlns:a16="http://schemas.microsoft.com/office/drawing/2014/main" id="{A6063A8C-A9EA-A14F-BF18-F3A520DC196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630503" y="1553429"/>
            <a:ext cx="4090409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1" name="슬라이드 번호 개체 틀 2">
            <a:extLst>
              <a:ext uri="{FF2B5EF4-FFF2-40B4-BE49-F238E27FC236}">
                <a16:creationId xmlns:a16="http://schemas.microsoft.com/office/drawing/2014/main" id="{050000BB-0209-4B47-B63A-D095A5D3D0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3" name="텍스트 개체 틀 19">
            <a:extLst>
              <a:ext uri="{FF2B5EF4-FFF2-40B4-BE49-F238E27FC236}">
                <a16:creationId xmlns:a16="http://schemas.microsoft.com/office/drawing/2014/main" id="{BAEC77C8-043A-5149-8F5D-45B81AC3FA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  <p:sp>
        <p:nvSpPr>
          <p:cNvPr id="15" name="내용 개체 틀 20">
            <a:extLst>
              <a:ext uri="{FF2B5EF4-FFF2-40B4-BE49-F238E27FC236}">
                <a16:creationId xmlns:a16="http://schemas.microsoft.com/office/drawing/2014/main" id="{749FA8F5-CB8F-B94E-9083-2505169B16E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7248" y="1604006"/>
            <a:ext cx="3997962" cy="44634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907781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텍스트 개체 틀 3">
            <a:extLst>
              <a:ext uri="{FF2B5EF4-FFF2-40B4-BE49-F238E27FC236}">
                <a16:creationId xmlns:a16="http://schemas.microsoft.com/office/drawing/2014/main" id="{7C042A27-98E7-5C4A-BA5D-BDBE19477EA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889" y="1907000"/>
            <a:ext cx="4093451" cy="415263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텍스트 개체 틀 22">
            <a:extLst>
              <a:ext uri="{FF2B5EF4-FFF2-40B4-BE49-F238E27FC236}">
                <a16:creationId xmlns:a16="http://schemas.microsoft.com/office/drawing/2014/main" id="{8BB4E7D8-4DE3-6549-BB0F-89DD63459D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930" y="1553429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0" name="제목 1">
            <a:extLst>
              <a:ext uri="{FF2B5EF4-FFF2-40B4-BE49-F238E27FC236}">
                <a16:creationId xmlns:a16="http://schemas.microsoft.com/office/drawing/2014/main" id="{8DF08BAD-B6EF-0745-BDAE-5CC4A45471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11" name="부제목 2">
            <a:extLst>
              <a:ext uri="{FF2B5EF4-FFF2-40B4-BE49-F238E27FC236}">
                <a16:creationId xmlns:a16="http://schemas.microsoft.com/office/drawing/2014/main" id="{BDC02FCE-8502-AA4E-92AC-7080B5476A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cxnSp>
        <p:nvCxnSpPr>
          <p:cNvPr id="12" name="직선 연결선[R] 11">
            <a:extLst>
              <a:ext uri="{FF2B5EF4-FFF2-40B4-BE49-F238E27FC236}">
                <a16:creationId xmlns:a16="http://schemas.microsoft.com/office/drawing/2014/main" id="{39135111-7CAC-5642-9BD1-55BEE58B7033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내용 개체 틀 20">
            <a:extLst>
              <a:ext uri="{FF2B5EF4-FFF2-40B4-BE49-F238E27FC236}">
                <a16:creationId xmlns:a16="http://schemas.microsoft.com/office/drawing/2014/main" id="{FE26543F-E84A-9040-8BE6-6F897EBA92F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29707" y="1604006"/>
            <a:ext cx="3997962" cy="44634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17" name="슬라이드 번호 개체 틀 2">
            <a:extLst>
              <a:ext uri="{FF2B5EF4-FFF2-40B4-BE49-F238E27FC236}">
                <a16:creationId xmlns:a16="http://schemas.microsoft.com/office/drawing/2014/main" id="{A5DE3793-E128-2B4F-A161-2570C004B07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20" name="텍스트 개체 틀 19">
            <a:extLst>
              <a:ext uri="{FF2B5EF4-FFF2-40B4-BE49-F238E27FC236}">
                <a16:creationId xmlns:a16="http://schemas.microsoft.com/office/drawing/2014/main" id="{64897187-946C-5E4D-B579-7D2C2B0681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36389086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내용 개체 틀 20">
            <a:extLst>
              <a:ext uri="{FF2B5EF4-FFF2-40B4-BE49-F238E27FC236}">
                <a16:creationId xmlns:a16="http://schemas.microsoft.com/office/drawing/2014/main" id="{AFBEB800-45FE-0545-B3F9-D632830C632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29707" y="1604006"/>
            <a:ext cx="3997962" cy="220659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24" name="내용 개체 틀 20">
            <a:extLst>
              <a:ext uri="{FF2B5EF4-FFF2-40B4-BE49-F238E27FC236}">
                <a16:creationId xmlns:a16="http://schemas.microsoft.com/office/drawing/2014/main" id="{BEB0B4CA-1870-A145-9ECC-30A986ED8CE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00050" y="1604006"/>
            <a:ext cx="3997962" cy="220659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19" name="텍스트 개체 틀 3">
            <a:extLst>
              <a:ext uri="{FF2B5EF4-FFF2-40B4-BE49-F238E27FC236}">
                <a16:creationId xmlns:a16="http://schemas.microsoft.com/office/drawing/2014/main" id="{1BEFC714-17E1-4C42-8EC6-22BF06B4174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889" y="4363865"/>
            <a:ext cx="8486352" cy="17036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텍스트 개체 틀 22">
            <a:extLst>
              <a:ext uri="{FF2B5EF4-FFF2-40B4-BE49-F238E27FC236}">
                <a16:creationId xmlns:a16="http://schemas.microsoft.com/office/drawing/2014/main" id="{F552ECA5-2EE3-9449-939B-5D4B9762DF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930" y="4010294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4" name="제목 1">
            <a:extLst>
              <a:ext uri="{FF2B5EF4-FFF2-40B4-BE49-F238E27FC236}">
                <a16:creationId xmlns:a16="http://schemas.microsoft.com/office/drawing/2014/main" id="{931D2E36-3780-9E4F-A0CB-5907EAF9B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15" name="부제목 2">
            <a:extLst>
              <a:ext uri="{FF2B5EF4-FFF2-40B4-BE49-F238E27FC236}">
                <a16:creationId xmlns:a16="http://schemas.microsoft.com/office/drawing/2014/main" id="{9B66A1B5-FC28-6C4B-8691-D3BE5143AF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cxnSp>
        <p:nvCxnSpPr>
          <p:cNvPr id="16" name="직선 연결선[R] 15">
            <a:extLst>
              <a:ext uri="{FF2B5EF4-FFF2-40B4-BE49-F238E27FC236}">
                <a16:creationId xmlns:a16="http://schemas.microsoft.com/office/drawing/2014/main" id="{B391A31B-61D6-AF4B-B0DD-64CB8F0286AF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">
            <a:extLst>
              <a:ext uri="{FF2B5EF4-FFF2-40B4-BE49-F238E27FC236}">
                <a16:creationId xmlns:a16="http://schemas.microsoft.com/office/drawing/2014/main" id="{603E4703-CF1B-E643-B0AA-6D85FBD4677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8" name="텍스트 개체 틀 19">
            <a:extLst>
              <a:ext uri="{FF2B5EF4-FFF2-40B4-BE49-F238E27FC236}">
                <a16:creationId xmlns:a16="http://schemas.microsoft.com/office/drawing/2014/main" id="{A0E6E310-B832-E64E-9A1B-61D634D68D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35319539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텍스트 개체 틀 3">
            <a:extLst>
              <a:ext uri="{FF2B5EF4-FFF2-40B4-BE49-F238E27FC236}">
                <a16:creationId xmlns:a16="http://schemas.microsoft.com/office/drawing/2014/main" id="{33282E28-0078-8741-93F4-100525EB17E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889" y="4363865"/>
            <a:ext cx="4097363" cy="170362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텍스트 개체 틀 22">
            <a:extLst>
              <a:ext uri="{FF2B5EF4-FFF2-40B4-BE49-F238E27FC236}">
                <a16:creationId xmlns:a16="http://schemas.microsoft.com/office/drawing/2014/main" id="{24F5223A-62AB-6A4F-B69F-3EA5B85970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930" y="4010294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21" name="텍스트 개체 틀 3">
            <a:extLst>
              <a:ext uri="{FF2B5EF4-FFF2-40B4-BE49-F238E27FC236}">
                <a16:creationId xmlns:a16="http://schemas.microsoft.com/office/drawing/2014/main" id="{AA6041E0-66A5-544B-A450-2B82637F3D15}"/>
              </a:ext>
            </a:extLst>
          </p:cNvPr>
          <p:cNvSpPr>
            <a:spLocks noGrp="1"/>
          </p:cNvSpPr>
          <p:nvPr>
            <p:ph type="body" sz="half" idx="18" hasCustomPrompt="1"/>
          </p:nvPr>
        </p:nvSpPr>
        <p:spPr>
          <a:xfrm>
            <a:off x="4631889" y="4363865"/>
            <a:ext cx="4097363" cy="170362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텍스트 개체 틀 22">
            <a:extLst>
              <a:ext uri="{FF2B5EF4-FFF2-40B4-BE49-F238E27FC236}">
                <a16:creationId xmlns:a16="http://schemas.microsoft.com/office/drawing/2014/main" id="{EB7C5914-7914-C540-B142-AC9127F480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34930" y="4010294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12" name="내용 개체 틀 20">
            <a:extLst>
              <a:ext uri="{FF2B5EF4-FFF2-40B4-BE49-F238E27FC236}">
                <a16:creationId xmlns:a16="http://schemas.microsoft.com/office/drawing/2014/main" id="{9713D27C-A94B-394B-B8B2-636A044FB33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29707" y="1604006"/>
            <a:ext cx="3997962" cy="220659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13" name="내용 개체 틀 20">
            <a:extLst>
              <a:ext uri="{FF2B5EF4-FFF2-40B4-BE49-F238E27FC236}">
                <a16:creationId xmlns:a16="http://schemas.microsoft.com/office/drawing/2014/main" id="{0ED8D36E-B95C-2449-8BD0-F17A78FA73C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00050" y="1604006"/>
            <a:ext cx="3997962" cy="220659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08337D"/>
                </a:solidFill>
              </a:defRPr>
            </a:lvl1pPr>
          </a:lstStyle>
          <a:p>
            <a:pPr lvl="0"/>
            <a:r>
              <a:rPr kumimoji="1" lang="en-US" altLang="ko-KR" dirty="0"/>
              <a:t>image</a:t>
            </a:r>
            <a:endParaRPr kumimoji="1" lang="ko-KR" altLang="en-US" dirty="0"/>
          </a:p>
        </p:txBody>
      </p:sp>
      <p:sp>
        <p:nvSpPr>
          <p:cNvPr id="14" name="제목 1">
            <a:extLst>
              <a:ext uri="{FF2B5EF4-FFF2-40B4-BE49-F238E27FC236}">
                <a16:creationId xmlns:a16="http://schemas.microsoft.com/office/drawing/2014/main" id="{38882423-33B1-D544-A844-B9817E93EA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15" name="부제목 2">
            <a:extLst>
              <a:ext uri="{FF2B5EF4-FFF2-40B4-BE49-F238E27FC236}">
                <a16:creationId xmlns:a16="http://schemas.microsoft.com/office/drawing/2014/main" id="{0248BBEC-9FEB-5A4B-AB09-828561849F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cxnSp>
        <p:nvCxnSpPr>
          <p:cNvPr id="16" name="직선 연결선[R] 15">
            <a:extLst>
              <a:ext uri="{FF2B5EF4-FFF2-40B4-BE49-F238E27FC236}">
                <a16:creationId xmlns:a16="http://schemas.microsoft.com/office/drawing/2014/main" id="{6164AC6C-8E07-DC4A-87A8-D7231B73111D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슬라이드 번호 개체 틀 2">
            <a:extLst>
              <a:ext uri="{FF2B5EF4-FFF2-40B4-BE49-F238E27FC236}">
                <a16:creationId xmlns:a16="http://schemas.microsoft.com/office/drawing/2014/main" id="{867B9BF9-3802-0A4C-91D2-EF16EEFB91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25" name="텍스트 개체 틀 19">
            <a:extLst>
              <a:ext uri="{FF2B5EF4-FFF2-40B4-BE49-F238E27FC236}">
                <a16:creationId xmlns:a16="http://schemas.microsoft.com/office/drawing/2014/main" id="{79333A9D-3488-584E-B805-BBF2B0980C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19677355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id="{82BE7989-91A9-D641-889E-09505A477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5" name="부제목 2">
            <a:extLst>
              <a:ext uri="{FF2B5EF4-FFF2-40B4-BE49-F238E27FC236}">
                <a16:creationId xmlns:a16="http://schemas.microsoft.com/office/drawing/2014/main" id="{AB8E83DB-A3E4-514B-939B-5FF38EAF71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sp>
        <p:nvSpPr>
          <p:cNvPr id="7" name="슬라이드 번호 개체 틀 2">
            <a:extLst>
              <a:ext uri="{FF2B5EF4-FFF2-40B4-BE49-F238E27FC236}">
                <a16:creationId xmlns:a16="http://schemas.microsoft.com/office/drawing/2014/main" id="{62F20E41-BFAC-9245-BEF7-10CD71C247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0" name="텍스트 개체 틀 19">
            <a:extLst>
              <a:ext uri="{FF2B5EF4-FFF2-40B4-BE49-F238E27FC236}">
                <a16:creationId xmlns:a16="http://schemas.microsoft.com/office/drawing/2014/main" id="{190B7FBF-5D90-764B-B78A-13309CDF7A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  <p:cxnSp>
        <p:nvCxnSpPr>
          <p:cNvPr id="6" name="직선 연결선[R] 5">
            <a:extLst>
              <a:ext uri="{FF2B5EF4-FFF2-40B4-BE49-F238E27FC236}">
                <a16:creationId xmlns:a16="http://schemas.microsoft.com/office/drawing/2014/main" id="{4AEF24F8-6FD9-2248-A765-819EBBF4016F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19868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텍스트 개체 틀 3">
            <a:extLst>
              <a:ext uri="{FF2B5EF4-FFF2-40B4-BE49-F238E27FC236}">
                <a16:creationId xmlns:a16="http://schemas.microsoft.com/office/drawing/2014/main" id="{2245FF3E-4D0C-B342-B7AF-5B8382001F7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889" y="1906304"/>
            <a:ext cx="8486352" cy="13551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텍스트 개체 틀 22">
            <a:extLst>
              <a:ext uri="{FF2B5EF4-FFF2-40B4-BE49-F238E27FC236}">
                <a16:creationId xmlns:a16="http://schemas.microsoft.com/office/drawing/2014/main" id="{760A6CDA-0443-6C4B-B30C-39CA8FEA92B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930" y="1552732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06A30267-05E6-3A4B-AFE6-F0CF946C13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7" name="부제목 2">
            <a:extLst>
              <a:ext uri="{FF2B5EF4-FFF2-40B4-BE49-F238E27FC236}">
                <a16:creationId xmlns:a16="http://schemas.microsoft.com/office/drawing/2014/main" id="{9216C891-F5C5-D141-8545-DE3EE103C6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sp>
        <p:nvSpPr>
          <p:cNvPr id="9" name="슬라이드 번호 개체 틀 2">
            <a:extLst>
              <a:ext uri="{FF2B5EF4-FFF2-40B4-BE49-F238E27FC236}">
                <a16:creationId xmlns:a16="http://schemas.microsoft.com/office/drawing/2014/main" id="{C7C130DF-1CE9-1A4E-8E75-2D952C6D30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4" name="텍스트 개체 틀 19">
            <a:extLst>
              <a:ext uri="{FF2B5EF4-FFF2-40B4-BE49-F238E27FC236}">
                <a16:creationId xmlns:a16="http://schemas.microsoft.com/office/drawing/2014/main" id="{C6F0566B-4D8D-7E44-AA56-1F563C66FA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  <p:cxnSp>
        <p:nvCxnSpPr>
          <p:cNvPr id="8" name="직선 연결선[R] 7">
            <a:extLst>
              <a:ext uri="{FF2B5EF4-FFF2-40B4-BE49-F238E27FC236}">
                <a16:creationId xmlns:a16="http://schemas.microsoft.com/office/drawing/2014/main" id="{B4B74FD9-EEE0-5B4B-955B-C7C9F3655EF4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69814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텍스트 개체 틀 3">
            <a:extLst>
              <a:ext uri="{FF2B5EF4-FFF2-40B4-BE49-F238E27FC236}">
                <a16:creationId xmlns:a16="http://schemas.microsoft.com/office/drawing/2014/main" id="{42E51591-A9A7-8E48-AD70-5FEBB489D6C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889" y="1907000"/>
            <a:ext cx="4093451" cy="40479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텍스트 개체 틀 22">
            <a:extLst>
              <a:ext uri="{FF2B5EF4-FFF2-40B4-BE49-F238E27FC236}">
                <a16:creationId xmlns:a16="http://schemas.microsoft.com/office/drawing/2014/main" id="{B275AFB7-42E6-FA44-8121-7CE86E4F6D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930" y="1553429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615AE503-3080-F245-9229-B54BB17F62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7" name="부제목 2">
            <a:extLst>
              <a:ext uri="{FF2B5EF4-FFF2-40B4-BE49-F238E27FC236}">
                <a16:creationId xmlns:a16="http://schemas.microsoft.com/office/drawing/2014/main" id="{6FA77AAC-9329-8040-9854-6451EE6ACA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sp>
        <p:nvSpPr>
          <p:cNvPr id="9" name="슬라이드 번호 개체 틀 2">
            <a:extLst>
              <a:ext uri="{FF2B5EF4-FFF2-40B4-BE49-F238E27FC236}">
                <a16:creationId xmlns:a16="http://schemas.microsoft.com/office/drawing/2014/main" id="{5452F36D-5500-B340-AB51-D9511D4B4B4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4" name="텍스트 개체 틀 19">
            <a:extLst>
              <a:ext uri="{FF2B5EF4-FFF2-40B4-BE49-F238E27FC236}">
                <a16:creationId xmlns:a16="http://schemas.microsoft.com/office/drawing/2014/main" id="{D6700EF7-4996-F349-AA80-7CE6870E54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  <p:cxnSp>
        <p:nvCxnSpPr>
          <p:cNvPr id="8" name="직선 연결선[R] 7">
            <a:extLst>
              <a:ext uri="{FF2B5EF4-FFF2-40B4-BE49-F238E27FC236}">
                <a16:creationId xmlns:a16="http://schemas.microsoft.com/office/drawing/2014/main" id="{153E2972-CF05-D24F-9AAD-53671AEAE605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238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FEF5C40-CEAF-144C-8866-4E2C6E1BA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575892"/>
            <a:ext cx="7886700" cy="1325563"/>
          </a:xfrm>
          <a:prstGeom prst="rect">
            <a:avLst/>
          </a:prstGeom>
        </p:spPr>
        <p:txBody>
          <a:bodyPr anchor="ctr"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kumimoji="1" lang="ko-KR" altLang="en-US" dirty="0" err="1"/>
              <a:t>끝인사</a:t>
            </a:r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12969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id="{82BE7989-91A9-D641-889E-09505A477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5" name="부제목 2">
            <a:extLst>
              <a:ext uri="{FF2B5EF4-FFF2-40B4-BE49-F238E27FC236}">
                <a16:creationId xmlns:a16="http://schemas.microsoft.com/office/drawing/2014/main" id="{AB8E83DB-A3E4-514B-939B-5FF38EAF71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sp>
        <p:nvSpPr>
          <p:cNvPr id="7" name="슬라이드 번호 개체 틀 2">
            <a:extLst>
              <a:ext uri="{FF2B5EF4-FFF2-40B4-BE49-F238E27FC236}">
                <a16:creationId xmlns:a16="http://schemas.microsoft.com/office/drawing/2014/main" id="{62F20E41-BFAC-9245-BEF7-10CD71C247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0" name="텍스트 개체 틀 19">
            <a:extLst>
              <a:ext uri="{FF2B5EF4-FFF2-40B4-BE49-F238E27FC236}">
                <a16:creationId xmlns:a16="http://schemas.microsoft.com/office/drawing/2014/main" id="{190B7FBF-5D90-764B-B78A-13309CDF7A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  <p:cxnSp>
        <p:nvCxnSpPr>
          <p:cNvPr id="6" name="직선 연결선[R] 5">
            <a:extLst>
              <a:ext uri="{FF2B5EF4-FFF2-40B4-BE49-F238E27FC236}">
                <a16:creationId xmlns:a16="http://schemas.microsoft.com/office/drawing/2014/main" id="{4AEF24F8-6FD9-2248-A765-819EBBF4016F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8528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텍스트 개체 틀 3">
            <a:extLst>
              <a:ext uri="{FF2B5EF4-FFF2-40B4-BE49-F238E27FC236}">
                <a16:creationId xmlns:a16="http://schemas.microsoft.com/office/drawing/2014/main" id="{2245FF3E-4D0C-B342-B7AF-5B8382001F7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13889" y="1906304"/>
            <a:ext cx="8486352" cy="13551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lnSpc>
                <a:spcPct val="120000"/>
              </a:lnSpc>
              <a:defRPr/>
            </a:pP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dy copy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맑은고딕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ular 14pt Grey. </a:t>
            </a:r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텍스트 개체 틀 22">
            <a:extLst>
              <a:ext uri="{FF2B5EF4-FFF2-40B4-BE49-F238E27FC236}">
                <a16:creationId xmlns:a16="http://schemas.microsoft.com/office/drawing/2014/main" id="{760A6CDA-0443-6C4B-B30C-39CA8FEA92B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930" y="1552732"/>
            <a:ext cx="4097363" cy="3063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53A0DB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en-US" altLang="ko-KR" sz="1600" b="1" dirty="0">
                <a:solidFill>
                  <a:srgbClr val="54A0DA"/>
                </a:solidFill>
              </a:rPr>
              <a:t>Body subheading </a:t>
            </a:r>
            <a:r>
              <a:rPr lang="ko-KR" altLang="en-US" sz="1600" b="1" dirty="0" err="1">
                <a:solidFill>
                  <a:srgbClr val="54A0DA"/>
                </a:solidFill>
              </a:rPr>
              <a:t>맑은고딕</a:t>
            </a:r>
            <a:r>
              <a:rPr lang="ko-KR" altLang="en-US" sz="1600" b="1" dirty="0">
                <a:solidFill>
                  <a:srgbClr val="54A0DA"/>
                </a:solidFill>
              </a:rPr>
              <a:t> </a:t>
            </a:r>
            <a:r>
              <a:rPr lang="en-US" altLang="ko-KR" sz="1600" b="1" dirty="0">
                <a:solidFill>
                  <a:srgbClr val="54A0DA"/>
                </a:solidFill>
              </a:rPr>
              <a:t>Bold 16pt</a:t>
            </a:r>
            <a:endParaRPr lang="ko-KR" altLang="en-US" sz="1600" b="1" dirty="0">
              <a:solidFill>
                <a:srgbClr val="54A0DA"/>
              </a:solidFill>
            </a:endParaRPr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06A30267-05E6-3A4B-AFE6-F0CF946C13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256" y="338306"/>
            <a:ext cx="7585168" cy="50013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08337D"/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800" b="1" dirty="0">
                <a:solidFill>
                  <a:srgbClr val="08337D"/>
                </a:solidFill>
              </a:rPr>
              <a:t>Text and image title </a:t>
            </a:r>
            <a:r>
              <a:rPr lang="ko-KR" altLang="en-US" sz="2800" b="1" dirty="0" err="1">
                <a:solidFill>
                  <a:srgbClr val="08337D"/>
                </a:solidFill>
              </a:rPr>
              <a:t>맑은고딕</a:t>
            </a: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r>
              <a:rPr lang="en-US" altLang="ko-KR" sz="2800" b="1" dirty="0">
                <a:solidFill>
                  <a:srgbClr val="08337D"/>
                </a:solidFill>
              </a:rPr>
              <a:t>Bold 28pt</a:t>
            </a:r>
            <a:br>
              <a:rPr lang="ko-KR" altLang="en-US" sz="2800" b="1" dirty="0">
                <a:solidFill>
                  <a:srgbClr val="08337D"/>
                </a:solidFill>
              </a:rPr>
            </a:br>
            <a:r>
              <a:rPr lang="ko-KR" altLang="en-US" sz="2800" b="1" dirty="0">
                <a:solidFill>
                  <a:srgbClr val="08337D"/>
                </a:solidFill>
              </a:rPr>
              <a:t> </a:t>
            </a:r>
            <a:endParaRPr kumimoji="1" lang="ko-KR" altLang="en-US" dirty="0"/>
          </a:p>
        </p:txBody>
      </p:sp>
      <p:sp>
        <p:nvSpPr>
          <p:cNvPr id="7" name="부제목 2">
            <a:extLst>
              <a:ext uri="{FF2B5EF4-FFF2-40B4-BE49-F238E27FC236}">
                <a16:creationId xmlns:a16="http://schemas.microsoft.com/office/drawing/2014/main" id="{9216C891-F5C5-D141-8545-DE3EE103C6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3256" y="856756"/>
            <a:ext cx="7585168" cy="3349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title required 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맑은고딕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ular 18pt Grey</a:t>
            </a:r>
            <a:endParaRPr lang="ko-KR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kumimoji="1" lang="ko-KR" altLang="en-US" dirty="0"/>
          </a:p>
        </p:txBody>
      </p:sp>
      <p:sp>
        <p:nvSpPr>
          <p:cNvPr id="9" name="슬라이드 번호 개체 틀 2">
            <a:extLst>
              <a:ext uri="{FF2B5EF4-FFF2-40B4-BE49-F238E27FC236}">
                <a16:creationId xmlns:a16="http://schemas.microsoft.com/office/drawing/2014/main" id="{C7C130DF-1CE9-1A4E-8E75-2D952C6D30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4" name="텍스트 개체 틀 19">
            <a:extLst>
              <a:ext uri="{FF2B5EF4-FFF2-40B4-BE49-F238E27FC236}">
                <a16:creationId xmlns:a16="http://schemas.microsoft.com/office/drawing/2014/main" id="{C6F0566B-4D8D-7E44-AA56-1F563C66FA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  <p:cxnSp>
        <p:nvCxnSpPr>
          <p:cNvPr id="8" name="직선 연결선[R] 7">
            <a:extLst>
              <a:ext uri="{FF2B5EF4-FFF2-40B4-BE49-F238E27FC236}">
                <a16:creationId xmlns:a16="http://schemas.microsoft.com/office/drawing/2014/main" id="{B4B74FD9-EEE0-5B4B-955B-C7C9F3655EF4}"/>
              </a:ext>
            </a:extLst>
          </p:cNvPr>
          <p:cNvCxnSpPr>
            <a:cxnSpLocks/>
          </p:cNvCxnSpPr>
          <p:nvPr userDrawn="1"/>
        </p:nvCxnSpPr>
        <p:spPr>
          <a:xfrm>
            <a:off x="421286" y="1340342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1057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>
            <a:extLst>
              <a:ext uri="{FF2B5EF4-FFF2-40B4-BE49-F238E27FC236}">
                <a16:creationId xmlns:a16="http://schemas.microsoft.com/office/drawing/2014/main" id="{05D010F3-DAD5-E14F-98E1-CF1C4F8F6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596" y="4734729"/>
            <a:ext cx="7532683" cy="81754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600" b="1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입력</a:t>
            </a:r>
          </a:p>
        </p:txBody>
      </p:sp>
      <p:sp>
        <p:nvSpPr>
          <p:cNvPr id="10" name="텍스트 개체 틀 3">
            <a:extLst>
              <a:ext uri="{FF2B5EF4-FFF2-40B4-BE49-F238E27FC236}">
                <a16:creationId xmlns:a16="http://schemas.microsoft.com/office/drawing/2014/main" id="{6A94267B-C408-414C-AEE8-81E0D80117B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68501" y="5553937"/>
            <a:ext cx="4738346" cy="3031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 dirty="0"/>
              <a:t>소제목</a:t>
            </a:r>
          </a:p>
        </p:txBody>
      </p:sp>
      <p:sp>
        <p:nvSpPr>
          <p:cNvPr id="17" name="텍스트 개체 틀 3">
            <a:extLst>
              <a:ext uri="{FF2B5EF4-FFF2-40B4-BE49-F238E27FC236}">
                <a16:creationId xmlns:a16="http://schemas.microsoft.com/office/drawing/2014/main" id="{5A0828CF-BDC9-8F4B-A023-0FD63234DF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1694594" y="6085696"/>
            <a:ext cx="3512254" cy="3031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 dirty="0"/>
              <a:t>이름</a:t>
            </a:r>
            <a:r>
              <a:rPr kumimoji="1" lang="en-US" altLang="ko-KR" dirty="0"/>
              <a:t>(</a:t>
            </a:r>
            <a:r>
              <a:rPr kumimoji="1" lang="en-US" altLang="ko-KR" dirty="0" err="1"/>
              <a:t>abc@virnect.com</a:t>
            </a:r>
            <a:r>
              <a:rPr kumimoji="1" lang="en-US" altLang="ko-KR" dirty="0"/>
              <a:t>)</a:t>
            </a:r>
            <a:endParaRPr kumimoji="1" lang="ko-KR" altLang="en-US" dirty="0"/>
          </a:p>
        </p:txBody>
      </p:sp>
      <p:sp>
        <p:nvSpPr>
          <p:cNvPr id="18" name="텍스트 개체 틀 3">
            <a:extLst>
              <a:ext uri="{FF2B5EF4-FFF2-40B4-BE49-F238E27FC236}">
                <a16:creationId xmlns:a16="http://schemas.microsoft.com/office/drawing/2014/main" id="{BE8E3E62-936A-D544-96EB-60A882DC80E6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468501" y="6085696"/>
            <a:ext cx="1177419" cy="3031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en-US" altLang="ko-KR" dirty="0"/>
              <a:t>2020.01.30</a:t>
            </a:r>
            <a:endParaRPr kumimoji="1" lang="ko-KR" altLang="en-US" dirty="0"/>
          </a:p>
        </p:txBody>
      </p:sp>
      <p:sp>
        <p:nvSpPr>
          <p:cNvPr id="7" name="텍스트 상자 10">
            <a:extLst>
              <a:ext uri="{FF2B5EF4-FFF2-40B4-BE49-F238E27FC236}">
                <a16:creationId xmlns:a16="http://schemas.microsoft.com/office/drawing/2014/main" id="{CB48C747-7B73-815F-A86D-31FD66AE5BA2}"/>
              </a:ext>
            </a:extLst>
          </p:cNvPr>
          <p:cNvSpPr txBox="1">
            <a:spLocks/>
          </p:cNvSpPr>
          <p:nvPr userDrawn="1"/>
        </p:nvSpPr>
        <p:spPr>
          <a:xfrm>
            <a:off x="2993644" y="6548755"/>
            <a:ext cx="3985386" cy="200055"/>
          </a:xfrm>
          <a:prstGeom prst="rect">
            <a:avLst/>
          </a:prstGeom>
          <a:noFill/>
        </p:spPr>
        <p:txBody>
          <a:bodyPr vert="horz" wrap="none" lIns="91440" tIns="45720" rIns="91440" bIns="45720" anchor="t">
            <a:spAutoFit/>
          </a:bodyPr>
          <a:lstStyle/>
          <a:p>
            <a:pPr marL="0" indent="0" algn="l" defTabSz="914400" eaLnBrk="1" latinLnBrk="1" hangingPunct="1">
              <a:buFontTx/>
              <a:buNone/>
            </a:pPr>
            <a:r>
              <a:rPr lang="en-US"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Any copying, modification, or publication without the author's approval is strictly prohibited.</a:t>
            </a:r>
            <a:endParaRPr lang="ko-KR" altLang="en-US" sz="700" b="0" dirty="0">
              <a:solidFill>
                <a:schemeClr val="bg1"/>
              </a:solidFill>
              <a:latin typeface="맑은 고딕" charset="0"/>
              <a:ea typeface="맑은 고딕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942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9CD75C63-38A1-534D-A234-9DFFD23C50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586693"/>
            <a:ext cx="9144000" cy="3464295"/>
          </a:xfrm>
          <a:prstGeom prst="rect">
            <a:avLst/>
          </a:prstGeom>
        </p:spPr>
      </p:pic>
      <p:sp>
        <p:nvSpPr>
          <p:cNvPr id="15" name="텍스트 개체 틀 3">
            <a:extLst>
              <a:ext uri="{FF2B5EF4-FFF2-40B4-BE49-F238E27FC236}">
                <a16:creationId xmlns:a16="http://schemas.microsoft.com/office/drawing/2014/main" id="{C2F70E2D-ABE5-E948-9062-8B8CABB19C2B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1694594" y="6085696"/>
            <a:ext cx="3512254" cy="3031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 dirty="0"/>
              <a:t>이름</a:t>
            </a:r>
            <a:r>
              <a:rPr kumimoji="1" lang="en-US" altLang="ko-KR" dirty="0"/>
              <a:t>(</a:t>
            </a:r>
            <a:r>
              <a:rPr kumimoji="1" lang="en-US" altLang="ko-KR" dirty="0" err="1"/>
              <a:t>abc@virnect.com</a:t>
            </a:r>
            <a:r>
              <a:rPr kumimoji="1" lang="en-US" altLang="ko-KR" dirty="0"/>
              <a:t>)</a:t>
            </a:r>
            <a:endParaRPr kumimoji="1" lang="ko-KR" altLang="en-US" dirty="0"/>
          </a:p>
        </p:txBody>
      </p:sp>
      <p:sp>
        <p:nvSpPr>
          <p:cNvPr id="7" name="제목 1">
            <a:extLst>
              <a:ext uri="{FF2B5EF4-FFF2-40B4-BE49-F238E27FC236}">
                <a16:creationId xmlns:a16="http://schemas.microsoft.com/office/drawing/2014/main" id="{DE79FDC9-7E92-2F46-B34E-6B643E0D5B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4956" y="4018217"/>
            <a:ext cx="5801672" cy="153642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600" b="1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</a:t>
            </a:r>
            <a:br>
              <a:rPr lang="en-US" altLang="ko-KR" dirty="0"/>
            </a:br>
            <a:r>
              <a:rPr lang="ko-KR" altLang="en-US" dirty="0"/>
              <a:t>스타일 편집</a:t>
            </a:r>
          </a:p>
        </p:txBody>
      </p:sp>
      <p:sp>
        <p:nvSpPr>
          <p:cNvPr id="5" name="텍스트 개체 틀 3">
            <a:extLst>
              <a:ext uri="{FF2B5EF4-FFF2-40B4-BE49-F238E27FC236}">
                <a16:creationId xmlns:a16="http://schemas.microsoft.com/office/drawing/2014/main" id="{54D496A4-02FA-3D42-B22B-79E6360CC282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468501" y="6085696"/>
            <a:ext cx="1177419" cy="3031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en-US" altLang="ko-KR" dirty="0"/>
              <a:t>2020.01.30</a:t>
            </a:r>
            <a:endParaRPr kumimoji="1" lang="ko-KR" altLang="en-US" dirty="0"/>
          </a:p>
        </p:txBody>
      </p:sp>
      <p:sp>
        <p:nvSpPr>
          <p:cNvPr id="12" name="텍스트 개체 틀 3">
            <a:extLst>
              <a:ext uri="{FF2B5EF4-FFF2-40B4-BE49-F238E27FC236}">
                <a16:creationId xmlns:a16="http://schemas.microsoft.com/office/drawing/2014/main" id="{75D92172-398B-C740-B612-77D3F19174D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68501" y="5556305"/>
            <a:ext cx="4738346" cy="3031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 dirty="0"/>
              <a:t>소제목</a:t>
            </a:r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ACF724A8-DA82-0F48-996B-90F332CBE024}"/>
              </a:ext>
            </a:extLst>
          </p:cNvPr>
          <p:cNvCxnSpPr>
            <a:cxnSpLocks/>
          </p:cNvCxnSpPr>
          <p:nvPr userDrawn="1"/>
        </p:nvCxnSpPr>
        <p:spPr>
          <a:xfrm>
            <a:off x="1639878" y="6144348"/>
            <a:ext cx="0" cy="16200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텍스트 상자 10">
            <a:extLst>
              <a:ext uri="{FF2B5EF4-FFF2-40B4-BE49-F238E27FC236}">
                <a16:creationId xmlns:a16="http://schemas.microsoft.com/office/drawing/2014/main" id="{E02C7C16-F0FC-4EAC-C713-E3F71C817B81}"/>
              </a:ext>
            </a:extLst>
          </p:cNvPr>
          <p:cNvSpPr txBox="1">
            <a:spLocks/>
          </p:cNvSpPr>
          <p:nvPr userDrawn="1"/>
        </p:nvSpPr>
        <p:spPr>
          <a:xfrm>
            <a:off x="2993644" y="6548755"/>
            <a:ext cx="3230372" cy="200055"/>
          </a:xfrm>
          <a:prstGeom prst="rect">
            <a:avLst/>
          </a:prstGeom>
          <a:noFill/>
        </p:spPr>
        <p:txBody>
          <a:bodyPr vert="horz" wrap="none" lIns="91440" tIns="45720" rIns="91440" bIns="45720" anchor="t">
            <a:spAutoFit/>
          </a:bodyPr>
          <a:lstStyle/>
          <a:p>
            <a:pPr marL="0" indent="0" algn="l" defTabSz="914400" eaLnBrk="1" latinLnBrk="1" hangingPunct="1">
              <a:buFontTx/>
              <a:buNone/>
            </a:pPr>
            <a:r>
              <a:rPr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 </a:t>
            </a:r>
            <a:r>
              <a:rPr sz="700" b="0" dirty="0" err="1">
                <a:solidFill>
                  <a:schemeClr val="bg1"/>
                </a:solidFill>
                <a:latin typeface="맑은 고딕" charset="0"/>
                <a:ea typeface="맑은 고딕" charset="0"/>
              </a:rPr>
              <a:t>저자의</a:t>
            </a:r>
            <a:r>
              <a:rPr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 </a:t>
            </a:r>
            <a:r>
              <a:rPr sz="700" b="0" dirty="0" err="1">
                <a:solidFill>
                  <a:schemeClr val="bg1"/>
                </a:solidFill>
                <a:latin typeface="맑은 고딕" charset="0"/>
                <a:ea typeface="맑은 고딕" charset="0"/>
              </a:rPr>
              <a:t>승인을</a:t>
            </a:r>
            <a:r>
              <a:rPr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 </a:t>
            </a:r>
            <a:r>
              <a:rPr sz="700" b="0" dirty="0" err="1">
                <a:solidFill>
                  <a:schemeClr val="bg1"/>
                </a:solidFill>
                <a:latin typeface="맑은 고딕" charset="0"/>
                <a:ea typeface="맑은 고딕" charset="0"/>
              </a:rPr>
              <a:t>받지</a:t>
            </a:r>
            <a:r>
              <a:rPr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 </a:t>
            </a:r>
            <a:r>
              <a:rPr sz="700" b="0" dirty="0" err="1">
                <a:solidFill>
                  <a:schemeClr val="bg1"/>
                </a:solidFill>
                <a:latin typeface="맑은 고딕" charset="0"/>
                <a:ea typeface="맑은 고딕" charset="0"/>
              </a:rPr>
              <a:t>않는</a:t>
            </a:r>
            <a:r>
              <a:rPr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 </a:t>
            </a:r>
            <a:r>
              <a:rPr sz="700" b="0" dirty="0" err="1">
                <a:solidFill>
                  <a:schemeClr val="bg1"/>
                </a:solidFill>
                <a:latin typeface="맑은 고딕" charset="0"/>
                <a:ea typeface="맑은 고딕" charset="0"/>
              </a:rPr>
              <a:t>복사</a:t>
            </a:r>
            <a:r>
              <a:rPr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, </a:t>
            </a:r>
            <a:r>
              <a:rPr sz="700" b="0" dirty="0" err="1">
                <a:solidFill>
                  <a:schemeClr val="bg1"/>
                </a:solidFill>
                <a:latin typeface="맑은 고딕" charset="0"/>
                <a:ea typeface="맑은 고딕" charset="0"/>
              </a:rPr>
              <a:t>변형</a:t>
            </a:r>
            <a:r>
              <a:rPr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, </a:t>
            </a:r>
            <a:r>
              <a:rPr sz="700" b="0" dirty="0" err="1">
                <a:solidFill>
                  <a:schemeClr val="bg1"/>
                </a:solidFill>
                <a:latin typeface="맑은 고딕" charset="0"/>
                <a:ea typeface="맑은 고딕" charset="0"/>
              </a:rPr>
              <a:t>게재</a:t>
            </a:r>
            <a:r>
              <a:rPr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 </a:t>
            </a:r>
            <a:r>
              <a:rPr sz="700" b="0" dirty="0" err="1">
                <a:solidFill>
                  <a:schemeClr val="bg1"/>
                </a:solidFill>
                <a:latin typeface="맑은 고딕" charset="0"/>
                <a:ea typeface="맑은 고딕" charset="0"/>
              </a:rPr>
              <a:t>등의</a:t>
            </a:r>
            <a:r>
              <a:rPr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 </a:t>
            </a:r>
            <a:r>
              <a:rPr sz="700" b="0" dirty="0" err="1">
                <a:solidFill>
                  <a:schemeClr val="bg1"/>
                </a:solidFill>
                <a:latin typeface="맑은 고딕" charset="0"/>
                <a:ea typeface="맑은 고딕" charset="0"/>
              </a:rPr>
              <a:t>일체</a:t>
            </a:r>
            <a:r>
              <a:rPr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 </a:t>
            </a:r>
            <a:r>
              <a:rPr sz="700" b="0" dirty="0" err="1">
                <a:solidFill>
                  <a:schemeClr val="bg1"/>
                </a:solidFill>
                <a:latin typeface="맑은 고딕" charset="0"/>
                <a:ea typeface="맑은 고딕" charset="0"/>
              </a:rPr>
              <a:t>행위를</a:t>
            </a:r>
            <a:r>
              <a:rPr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 </a:t>
            </a:r>
            <a:r>
              <a:rPr sz="700" b="0" dirty="0" err="1">
                <a:solidFill>
                  <a:schemeClr val="bg1"/>
                </a:solidFill>
                <a:latin typeface="맑은 고딕" charset="0"/>
                <a:ea typeface="맑은 고딕" charset="0"/>
              </a:rPr>
              <a:t>금지합니다</a:t>
            </a:r>
            <a:r>
              <a:rPr sz="700" b="0" dirty="0">
                <a:solidFill>
                  <a:schemeClr val="bg1"/>
                </a:solidFill>
                <a:latin typeface="맑은 고딕" charset="0"/>
                <a:ea typeface="맑은 고딕" charset="0"/>
              </a:rPr>
              <a:t>.</a:t>
            </a:r>
            <a:endParaRPr lang="ko-KR" altLang="en-US" sz="700" b="0" dirty="0">
              <a:solidFill>
                <a:schemeClr val="bg1"/>
              </a:solidFill>
              <a:latin typeface="맑은 고딕" charset="0"/>
              <a:ea typeface="맑은 고딕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2603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제목 1">
            <a:extLst>
              <a:ext uri="{FF2B5EF4-FFF2-40B4-BE49-F238E27FC236}">
                <a16:creationId xmlns:a16="http://schemas.microsoft.com/office/drawing/2014/main" id="{42917634-B178-CD41-B201-C744077AD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634" y="506913"/>
            <a:ext cx="8383080" cy="5670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rgbClr val="08337D"/>
                </a:solidFill>
              </a:defRPr>
            </a:lvl1pPr>
          </a:lstStyle>
          <a:p>
            <a:r>
              <a:rPr kumimoji="1" lang="ko-KR" altLang="en-US" dirty="0"/>
              <a:t>마스터 제목 스타일 편집</a:t>
            </a:r>
          </a:p>
        </p:txBody>
      </p:sp>
      <p:cxnSp>
        <p:nvCxnSpPr>
          <p:cNvPr id="12" name="직선 연결선[R] 11">
            <a:extLst>
              <a:ext uri="{FF2B5EF4-FFF2-40B4-BE49-F238E27FC236}">
                <a16:creationId xmlns:a16="http://schemas.microsoft.com/office/drawing/2014/main" id="{53695E4A-684D-3D4E-B960-81D39B28BD87}"/>
              </a:ext>
            </a:extLst>
          </p:cNvPr>
          <p:cNvCxnSpPr>
            <a:cxnSpLocks/>
          </p:cNvCxnSpPr>
          <p:nvPr userDrawn="1"/>
        </p:nvCxnSpPr>
        <p:spPr>
          <a:xfrm>
            <a:off x="421286" y="428825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슬라이드 번호 개체 틀 2">
            <a:extLst>
              <a:ext uri="{FF2B5EF4-FFF2-40B4-BE49-F238E27FC236}">
                <a16:creationId xmlns:a16="http://schemas.microsoft.com/office/drawing/2014/main" id="{EC02F605-4EA1-EE4C-AEF5-EF266A70D8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3" name="텍스트 개체 틀 19">
            <a:extLst>
              <a:ext uri="{FF2B5EF4-FFF2-40B4-BE49-F238E27FC236}">
                <a16:creationId xmlns:a16="http://schemas.microsoft.com/office/drawing/2014/main" id="{7132C856-BEEE-D847-A7BB-B38A0831E1D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26913587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텍스트 개체 틀 22">
            <a:extLst>
              <a:ext uri="{FF2B5EF4-FFF2-40B4-BE49-F238E27FC236}">
                <a16:creationId xmlns:a16="http://schemas.microsoft.com/office/drawing/2014/main" id="{B3ACB401-8261-B244-B28C-F3E40CCA3E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94302" y="1933575"/>
            <a:ext cx="2128838" cy="284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kumimoji="1" lang="en-US" altLang="ko-KR" dirty="0"/>
              <a:t>3.0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대메뉴</a:t>
            </a:r>
            <a:endParaRPr kumimoji="1" lang="ko-KR" altLang="en-US" dirty="0"/>
          </a:p>
        </p:txBody>
      </p:sp>
      <p:sp>
        <p:nvSpPr>
          <p:cNvPr id="8" name="텍스트 개체 틀 22">
            <a:extLst>
              <a:ext uri="{FF2B5EF4-FFF2-40B4-BE49-F238E27FC236}">
                <a16:creationId xmlns:a16="http://schemas.microsoft.com/office/drawing/2014/main" id="{BBBD5976-0DEF-134D-9BAE-B006242BCB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41575" y="1933575"/>
            <a:ext cx="2128838" cy="284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kumimoji="1" lang="en-US" altLang="ko-KR" dirty="0"/>
              <a:t>1.0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대메뉴</a:t>
            </a:r>
            <a:endParaRPr kumimoji="1" lang="ko-KR" altLang="en-US" dirty="0"/>
          </a:p>
        </p:txBody>
      </p:sp>
      <p:sp>
        <p:nvSpPr>
          <p:cNvPr id="9" name="텍스트 개체 틀 22">
            <a:extLst>
              <a:ext uri="{FF2B5EF4-FFF2-40B4-BE49-F238E27FC236}">
                <a16:creationId xmlns:a16="http://schemas.microsoft.com/office/drawing/2014/main" id="{F9928862-818C-C547-BC2E-9F46EC903A9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41575" y="2274204"/>
            <a:ext cx="2128838" cy="14555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en-US" altLang="ko-KR" dirty="0"/>
              <a:t>1.1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소메뉴</a:t>
            </a:r>
            <a:endParaRPr kumimoji="1" lang="en-US" altLang="ko-KR" dirty="0"/>
          </a:p>
          <a:p>
            <a:pPr lvl="0"/>
            <a:r>
              <a:rPr kumimoji="1" lang="en-US" altLang="ko-KR" dirty="0"/>
              <a:t>1.2</a:t>
            </a:r>
          </a:p>
          <a:p>
            <a:pPr lvl="0"/>
            <a:r>
              <a:rPr kumimoji="1" lang="en-US" altLang="ko-KR" dirty="0"/>
              <a:t>1.3</a:t>
            </a:r>
            <a:endParaRPr kumimoji="1" lang="ko-KR" altLang="en-US" dirty="0"/>
          </a:p>
        </p:txBody>
      </p:sp>
      <p:sp>
        <p:nvSpPr>
          <p:cNvPr id="11" name="제목 1">
            <a:extLst>
              <a:ext uri="{FF2B5EF4-FFF2-40B4-BE49-F238E27FC236}">
                <a16:creationId xmlns:a16="http://schemas.microsoft.com/office/drawing/2014/main" id="{BBC32F69-38BA-0B43-A0EE-1470EE5A9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634" y="506913"/>
            <a:ext cx="8383080" cy="5670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rgbClr val="08337D"/>
                </a:solidFill>
              </a:defRPr>
            </a:lvl1pPr>
          </a:lstStyle>
          <a:p>
            <a:r>
              <a:rPr kumimoji="1" lang="ko-KR" altLang="en-US" dirty="0"/>
              <a:t>마스터 제목 스타일 편집</a:t>
            </a:r>
          </a:p>
        </p:txBody>
      </p:sp>
      <p:cxnSp>
        <p:nvCxnSpPr>
          <p:cNvPr id="12" name="직선 연결선[R] 11">
            <a:extLst>
              <a:ext uri="{FF2B5EF4-FFF2-40B4-BE49-F238E27FC236}">
                <a16:creationId xmlns:a16="http://schemas.microsoft.com/office/drawing/2014/main" id="{A68137EC-1C10-1543-ACDA-75D6B3F71A95}"/>
              </a:ext>
            </a:extLst>
          </p:cNvPr>
          <p:cNvCxnSpPr>
            <a:cxnSpLocks/>
          </p:cNvCxnSpPr>
          <p:nvPr userDrawn="1"/>
        </p:nvCxnSpPr>
        <p:spPr>
          <a:xfrm>
            <a:off x="421286" y="428825"/>
            <a:ext cx="8301428" cy="0"/>
          </a:xfrm>
          <a:prstGeom prst="line">
            <a:avLst/>
          </a:prstGeom>
          <a:ln w="22225">
            <a:solidFill>
              <a:srgbClr val="083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텍스트 개체 틀 22">
            <a:extLst>
              <a:ext uri="{FF2B5EF4-FFF2-40B4-BE49-F238E27FC236}">
                <a16:creationId xmlns:a16="http://schemas.microsoft.com/office/drawing/2014/main" id="{CE9B8606-0E7C-DA46-B98F-C9CB932D86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67939" y="1933575"/>
            <a:ext cx="2128838" cy="28416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/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ko-KR" dirty="0"/>
              <a:t>2.0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대메뉴</a:t>
            </a:r>
            <a:endParaRPr kumimoji="1" lang="ko-KR" altLang="en-US" dirty="0"/>
          </a:p>
        </p:txBody>
      </p:sp>
      <p:sp>
        <p:nvSpPr>
          <p:cNvPr id="15" name="텍스트 개체 틀 22">
            <a:extLst>
              <a:ext uri="{FF2B5EF4-FFF2-40B4-BE49-F238E27FC236}">
                <a16:creationId xmlns:a16="http://schemas.microsoft.com/office/drawing/2014/main" id="{BC1A02FB-6A39-4547-87C9-412FED2BCC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656" y="2274204"/>
            <a:ext cx="2128838" cy="14555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en-US" altLang="ko-KR" dirty="0"/>
              <a:t>2.1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소메뉴</a:t>
            </a:r>
            <a:endParaRPr kumimoji="1" lang="en-US" altLang="ko-KR" dirty="0"/>
          </a:p>
          <a:p>
            <a:pPr lvl="0"/>
            <a:r>
              <a:rPr kumimoji="1" lang="en-US" altLang="ko-KR" dirty="0"/>
              <a:t>2.2</a:t>
            </a:r>
          </a:p>
          <a:p>
            <a:pPr lvl="0"/>
            <a:r>
              <a:rPr kumimoji="1" lang="en-US" altLang="ko-KR" dirty="0"/>
              <a:t>2.3</a:t>
            </a:r>
            <a:endParaRPr kumimoji="1" lang="ko-KR" altLang="en-US" dirty="0"/>
          </a:p>
        </p:txBody>
      </p:sp>
      <p:sp>
        <p:nvSpPr>
          <p:cNvPr id="16" name="텍스트 개체 틀 22">
            <a:extLst>
              <a:ext uri="{FF2B5EF4-FFF2-40B4-BE49-F238E27FC236}">
                <a16:creationId xmlns:a16="http://schemas.microsoft.com/office/drawing/2014/main" id="{4DD8B9C6-9441-E745-8BBF-30417CACE8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94302" y="2274204"/>
            <a:ext cx="2128838" cy="14555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en-US" altLang="ko-KR" dirty="0"/>
              <a:t>3.1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소메뉴</a:t>
            </a:r>
            <a:endParaRPr kumimoji="1" lang="en-US" altLang="ko-KR" dirty="0"/>
          </a:p>
          <a:p>
            <a:pPr lvl="0"/>
            <a:r>
              <a:rPr kumimoji="1" lang="en-US" altLang="ko-KR" dirty="0"/>
              <a:t>3.2</a:t>
            </a:r>
          </a:p>
          <a:p>
            <a:pPr lvl="0"/>
            <a:r>
              <a:rPr kumimoji="1" lang="en-US" altLang="ko-KR" dirty="0"/>
              <a:t>3.3</a:t>
            </a:r>
            <a:endParaRPr kumimoji="1" lang="ko-KR" altLang="en-US" dirty="0"/>
          </a:p>
        </p:txBody>
      </p:sp>
      <p:sp>
        <p:nvSpPr>
          <p:cNvPr id="13" name="슬라이드 번호 개체 틀 2">
            <a:extLst>
              <a:ext uri="{FF2B5EF4-FFF2-40B4-BE49-F238E27FC236}">
                <a16:creationId xmlns:a16="http://schemas.microsoft.com/office/drawing/2014/main" id="{81D1BCBF-37FD-594C-85FC-196EAEFB40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539239" y="6187056"/>
            <a:ext cx="2057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1DADD54-05A4-DC42-B145-80A72FC2E4A0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19" name="텍스트 개체 틀 19">
            <a:extLst>
              <a:ext uri="{FF2B5EF4-FFF2-40B4-BE49-F238E27FC236}">
                <a16:creationId xmlns:a16="http://schemas.microsoft.com/office/drawing/2014/main" id="{55DC1FAB-21B7-864E-9EEB-D51B372D70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56" y="6269606"/>
            <a:ext cx="2168525" cy="2254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kumimoji="1" lang="ko-KR" altLang="en-US" dirty="0"/>
              <a:t>마스터 제목</a:t>
            </a:r>
          </a:p>
        </p:txBody>
      </p:sp>
    </p:spTree>
    <p:extLst>
      <p:ext uri="{BB962C8B-B14F-4D97-AF65-F5344CB8AC3E}">
        <p14:creationId xmlns:p14="http://schemas.microsoft.com/office/powerpoint/2010/main" val="2864133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heme" Target="../theme/them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.emf"/><Relationship Id="rId5" Type="http://schemas.openxmlformats.org/officeDocument/2006/relationships/image" Target="../media/image4.jp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9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9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6BA96C9F-AED8-9F46-898D-B3A944D9AB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-58908" b="58078"/>
          <a:stretch/>
        </p:blipFill>
        <p:spPr>
          <a:xfrm rot="10800000" flipH="1">
            <a:off x="1" y="-11575"/>
            <a:ext cx="9144000" cy="2385382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D2394817-F6E0-B948-A503-97216D2010E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344000" y="6274938"/>
            <a:ext cx="1440000" cy="240000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A0202BF4-DC14-CD49-A69D-FE2AAD43838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lum/>
          </a:blip>
          <a:stretch>
            <a:fillRect/>
          </a:stretch>
        </p:blipFill>
        <p:spPr>
          <a:xfrm rot="10800000" flipH="1">
            <a:off x="0" y="6111365"/>
            <a:ext cx="1983995" cy="7466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001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810" r:id="rId2"/>
    <p:sldLayoutId id="2147483811" r:id="rId3"/>
    <p:sldLayoutId id="2147483812" r:id="rId4"/>
    <p:sldLayoutId id="2147483813" r:id="rId5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>
            <a:extLst>
              <a:ext uri="{FF2B5EF4-FFF2-40B4-BE49-F238E27FC236}">
                <a16:creationId xmlns:a16="http://schemas.microsoft.com/office/drawing/2014/main" id="{853FD9BE-1412-034C-BF6F-CADD599834B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405562"/>
            <a:ext cx="9144000" cy="3464295"/>
          </a:xfrm>
          <a:prstGeom prst="rect">
            <a:avLst/>
          </a:prstGeom>
        </p:spPr>
      </p:pic>
      <p:pic>
        <p:nvPicPr>
          <p:cNvPr id="3" name="그림 2" descr="사람, 건물, 남자, 실외이(가) 표시된 사진&#10;&#10;자동 생성된 설명">
            <a:extLst>
              <a:ext uri="{FF2B5EF4-FFF2-40B4-BE49-F238E27FC236}">
                <a16:creationId xmlns:a16="http://schemas.microsoft.com/office/drawing/2014/main" id="{816F4730-5E55-E542-888D-705E896BFB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42" b="10638"/>
          <a:stretch/>
        </p:blipFill>
        <p:spPr>
          <a:xfrm>
            <a:off x="0" y="0"/>
            <a:ext cx="9143999" cy="4572000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7B383FAD-CCE0-664F-A640-342CE56F6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48612"/>
            <a:ext cx="9144000" cy="3464295"/>
          </a:xfrm>
          <a:prstGeom prst="rect">
            <a:avLst/>
          </a:prstGeom>
        </p:spPr>
      </p:pic>
      <p:sp>
        <p:nvSpPr>
          <p:cNvPr id="9" name="내용 개체 틀 2">
            <a:extLst>
              <a:ext uri="{FF2B5EF4-FFF2-40B4-BE49-F238E27FC236}">
                <a16:creationId xmlns:a16="http://schemas.microsoft.com/office/drawing/2014/main" id="{FF61B9DE-F369-E840-BE88-2A4A571547BF}"/>
              </a:ext>
            </a:extLst>
          </p:cNvPr>
          <p:cNvSpPr txBox="1">
            <a:spLocks/>
          </p:cNvSpPr>
          <p:nvPr userDrawn="1"/>
        </p:nvSpPr>
        <p:spPr>
          <a:xfrm>
            <a:off x="0" y="-18290"/>
            <a:ext cx="9144000" cy="687628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kumimoji="1" lang="ko-KR" altLang="en-US" dirty="0"/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1F9049E5-1708-1A4A-A839-EFD7E8846DB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344000" y="6274800"/>
            <a:ext cx="1430610" cy="238435"/>
          </a:xfrm>
          <a:prstGeom prst="rect">
            <a:avLst/>
          </a:prstGeom>
        </p:spPr>
      </p:pic>
      <p:pic>
        <p:nvPicPr>
          <p:cNvPr id="8" name="그림 7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703FA76B-C20D-DF2C-3EBF-D5F06948A2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6501" y="6227096"/>
            <a:ext cx="1426443" cy="411250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F0406EC1-A450-3012-6B16-776C8FDC324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6501" y="145093"/>
            <a:ext cx="1973035" cy="593453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66F8A770-2EDD-9175-A264-0D73682ED00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667133" y="6227096"/>
            <a:ext cx="1204936" cy="411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21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17" r:id="rId2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>
            <a:extLst>
              <a:ext uri="{FF2B5EF4-FFF2-40B4-BE49-F238E27FC236}">
                <a16:creationId xmlns:a16="http://schemas.microsoft.com/office/drawing/2014/main" id="{09BCDC06-5209-8649-987E-203BA19BF8E2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E9EB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333905C8-B221-4D4F-B8C6-B7DF085B3C4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570038" y="6473404"/>
            <a:ext cx="1131984" cy="188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047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40" r:id="rId4"/>
    <p:sldLayoutId id="2147483814" r:id="rId5"/>
    <p:sldLayoutId id="2147483815" r:id="rId6"/>
    <p:sldLayoutId id="2147483816" r:id="rId7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그림 13">
            <a:extLst>
              <a:ext uri="{FF2B5EF4-FFF2-40B4-BE49-F238E27FC236}">
                <a16:creationId xmlns:a16="http://schemas.microsoft.com/office/drawing/2014/main" id="{0C2E3774-5D2E-D141-8BAA-CC6D49BE2E45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7563818" y="6289520"/>
            <a:ext cx="1143776" cy="188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262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42" r:id="rId2"/>
    <p:sldLayoutId id="2147483741" r:id="rId3"/>
    <p:sldLayoutId id="2147483727" r:id="rId4"/>
    <p:sldLayoutId id="2147483722" r:id="rId5"/>
    <p:sldLayoutId id="2147483723" r:id="rId6"/>
    <p:sldLayoutId id="2147483767" r:id="rId7"/>
    <p:sldLayoutId id="2147483725" r:id="rId8"/>
    <p:sldLayoutId id="2147483726" r:id="rId9"/>
    <p:sldLayoutId id="2147483770" r:id="rId10"/>
    <p:sldLayoutId id="2147483771" r:id="rId11"/>
    <p:sldLayoutId id="2147483731" r:id="rId12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그림 13">
            <a:extLst>
              <a:ext uri="{FF2B5EF4-FFF2-40B4-BE49-F238E27FC236}">
                <a16:creationId xmlns:a16="http://schemas.microsoft.com/office/drawing/2014/main" id="{0C2E3774-5D2E-D141-8BAA-CC6D49BE2E45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7563818" y="6289520"/>
            <a:ext cx="1143776" cy="188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68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7" r:id="rId2"/>
    <p:sldLayoutId id="2147483779" r:id="rId3"/>
    <p:sldLayoutId id="2147483781" r:id="rId4"/>
    <p:sldLayoutId id="2147483783" r:id="rId5"/>
    <p:sldLayoutId id="2147483785" r:id="rId6"/>
    <p:sldLayoutId id="2147483787" r:id="rId7"/>
    <p:sldLayoutId id="2147483789" r:id="rId8"/>
    <p:sldLayoutId id="2147483791" r:id="rId9"/>
    <p:sldLayoutId id="2147483793" r:id="rId10"/>
    <p:sldLayoutId id="2147483795" r:id="rId11"/>
    <p:sldLayoutId id="2147483797" r:id="rId12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33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8689747-722B-DE44-B7DC-8D505081BD9C}"/>
              </a:ext>
            </a:extLst>
          </p:cNvPr>
          <p:cNvSpPr txBox="1"/>
          <p:nvPr userDrawn="1"/>
        </p:nvSpPr>
        <p:spPr>
          <a:xfrm>
            <a:off x="3333509" y="5931951"/>
            <a:ext cx="5431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400" dirty="0">
                <a:solidFill>
                  <a:schemeClr val="bg1"/>
                </a:solidFill>
              </a:rPr>
              <a:t>10-15, </a:t>
            </a:r>
            <a:r>
              <a:rPr lang="en-US" altLang="ko-KR" sz="1400" dirty="0" err="1">
                <a:solidFill>
                  <a:schemeClr val="bg1"/>
                </a:solidFill>
              </a:rPr>
              <a:t>Hangang-daero</a:t>
            </a:r>
            <a:r>
              <a:rPr lang="en-US" altLang="ko-KR" sz="1400" dirty="0">
                <a:solidFill>
                  <a:schemeClr val="bg1"/>
                </a:solidFill>
              </a:rPr>
              <a:t> 7-gil, Yongsan-</a:t>
            </a:r>
            <a:r>
              <a:rPr lang="en-US" altLang="ko-KR" sz="1400" dirty="0" err="1">
                <a:solidFill>
                  <a:schemeClr val="bg1"/>
                </a:solidFill>
              </a:rPr>
              <a:t>gu</a:t>
            </a:r>
            <a:r>
              <a:rPr lang="en-US" altLang="ko-KR" sz="1400" dirty="0">
                <a:solidFill>
                  <a:schemeClr val="bg1"/>
                </a:solidFill>
              </a:rPr>
              <a:t>, Seoul</a:t>
            </a:r>
            <a:br>
              <a:rPr lang="en-US" altLang="ko-KR" sz="1400" dirty="0">
                <a:solidFill>
                  <a:schemeClr val="bg1"/>
                </a:solidFill>
              </a:rPr>
            </a:br>
            <a:r>
              <a:rPr lang="en-US" altLang="ko-KR" sz="1400" dirty="0" err="1">
                <a:solidFill>
                  <a:schemeClr val="bg1"/>
                </a:solidFill>
              </a:rPr>
              <a:t>Virnect</a:t>
            </a:r>
            <a:r>
              <a:rPr lang="en-US" altLang="ko-KR" sz="1400" dirty="0">
                <a:solidFill>
                  <a:schemeClr val="bg1"/>
                </a:solidFill>
              </a:rPr>
              <a:t> Experience Center</a:t>
            </a:r>
            <a:endParaRPr kumimoji="1" lang="ko-KR" altLang="en-US" sz="1400" dirty="0">
              <a:solidFill>
                <a:schemeClr val="bg1"/>
              </a:solidFill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83F5B29D-7BC2-AD41-9DB7-B28472E9D1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18947" y="5624066"/>
            <a:ext cx="1430610" cy="238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952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5">
            <a:extLst>
              <a:ext uri="{FF2B5EF4-FFF2-40B4-BE49-F238E27FC236}">
                <a16:creationId xmlns:a16="http://schemas.microsoft.com/office/drawing/2014/main" id="{312A4C98-74CD-D249-B445-9E1ACDAAD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6" y="4515651"/>
            <a:ext cx="7532683" cy="845619"/>
          </a:xfrm>
        </p:spPr>
        <p:txBody>
          <a:bodyPr/>
          <a:lstStyle/>
          <a:p>
            <a:pPr algn="ctr"/>
            <a:r>
              <a:rPr lang="en-US" altLang="ko-KR" sz="2000" dirty="0"/>
              <a:t>2024 KICT-BIM Based Collaboration Platform - XR Based </a:t>
            </a:r>
            <a:br>
              <a:rPr lang="en-US" altLang="ko-KR" sz="2000" dirty="0"/>
            </a:br>
            <a:r>
              <a:rPr lang="en-US" altLang="ko-KR" sz="2000" dirty="0"/>
              <a:t>Quality Verification Report</a:t>
            </a:r>
            <a:endParaRPr kumimoji="1" lang="ko-KR" altLang="en-US" sz="2000" dirty="0"/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B22FC0A1-D257-E444-AFBE-BDF7547AA8A4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3647975" y="6066646"/>
            <a:ext cx="1607419" cy="30316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altLang="ko-KR" dirty="0"/>
              <a:t>March 14, 2025</a:t>
            </a:r>
            <a:endParaRPr kumimoji="1" lang="ko-KR" altLang="en-US" dirty="0"/>
          </a:p>
        </p:txBody>
      </p:sp>
      <p:sp>
        <p:nvSpPr>
          <p:cNvPr id="2" name="제목 5">
            <a:extLst>
              <a:ext uri="{FF2B5EF4-FFF2-40B4-BE49-F238E27FC236}">
                <a16:creationId xmlns:a16="http://schemas.microsoft.com/office/drawing/2014/main" id="{99A185AC-A27E-607D-9CDF-F74C101004C0}"/>
              </a:ext>
            </a:extLst>
          </p:cNvPr>
          <p:cNvSpPr txBox="1">
            <a:spLocks/>
          </p:cNvSpPr>
          <p:nvPr/>
        </p:nvSpPr>
        <p:spPr>
          <a:xfrm>
            <a:off x="422595" y="5207066"/>
            <a:ext cx="7532683" cy="845619"/>
          </a:xfrm>
          <a:prstGeom prst="rect">
            <a:avLst/>
          </a:prstGeom>
        </p:spPr>
        <p:txBody>
          <a:bodyPr/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4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kumimoji="1" lang="en-US" altLang="ko-KR" sz="2000" dirty="0"/>
              <a:t>VIRNECT QA Team</a:t>
            </a:r>
          </a:p>
          <a:p>
            <a:pPr algn="ctr"/>
            <a:r>
              <a:rPr kumimoji="1" lang="en-US" altLang="ko-KR" sz="2000" dirty="0" err="1"/>
              <a:t>Sungtae</a:t>
            </a:r>
            <a:r>
              <a:rPr kumimoji="1" lang="en-US" altLang="ko-KR" sz="2000" dirty="0"/>
              <a:t> Kim</a:t>
            </a:r>
            <a:endParaRPr kumimoji="1" lang="ko-KR" altLang="en-US" sz="2000" dirty="0"/>
          </a:p>
        </p:txBody>
      </p:sp>
    </p:spTree>
    <p:extLst>
      <p:ext uri="{BB962C8B-B14F-4D97-AF65-F5344CB8AC3E}">
        <p14:creationId xmlns:p14="http://schemas.microsoft.com/office/powerpoint/2010/main" val="4113645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535D62-CF58-8462-0A5B-EEF1BA6673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337D33D-92AB-077D-C78E-154B8E2675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I. Verification Results</a:t>
            </a:r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6E7C47-3DA6-0312-39B0-F8B812ED5B08}"/>
              </a:ext>
            </a:extLst>
          </p:cNvPr>
          <p:cNvSpPr txBox="1"/>
          <p:nvPr/>
        </p:nvSpPr>
        <p:spPr>
          <a:xfrm>
            <a:off x="250825" y="716152"/>
            <a:ext cx="1982236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Quality Evaluation</a:t>
            </a:r>
            <a:endParaRPr lang="ko-KR" altLang="en-US" sz="1600" dirty="0"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160796-59E2-3F42-B911-8A3500B7BC7E}"/>
              </a:ext>
            </a:extLst>
          </p:cNvPr>
          <p:cNvSpPr txBox="1"/>
          <p:nvPr/>
        </p:nvSpPr>
        <p:spPr>
          <a:xfrm>
            <a:off x="179513" y="1095591"/>
            <a:ext cx="87136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/>
              <a:t>The final quality verification was conducted based on the 2024 goals specified in the Requirements Specification and Business Plan.</a:t>
            </a:r>
            <a:br>
              <a:rPr lang="en-US" altLang="ko-KR" sz="1400" dirty="0"/>
            </a:br>
            <a:r>
              <a:rPr lang="en-US" altLang="ko-KR" sz="1400" dirty="0"/>
              <a:t>All quality objectives for the 2024 quality attributes have been achieved.</a:t>
            </a:r>
            <a:endParaRPr lang="en-US" altLang="ko-KR" sz="1400" dirty="0">
              <a:latin typeface="+mj-lt"/>
              <a:ea typeface="+mj-ea"/>
              <a:cs typeface="+mj-cs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41B82393-E82D-4E7E-D673-255769A6CBD6}"/>
              </a:ext>
            </a:extLst>
          </p:cNvPr>
          <p:cNvGrpSpPr/>
          <p:nvPr/>
        </p:nvGrpSpPr>
        <p:grpSpPr>
          <a:xfrm>
            <a:off x="6192368" y="1612506"/>
            <a:ext cx="2733620" cy="276999"/>
            <a:chOff x="6144243" y="1429628"/>
            <a:chExt cx="2733620" cy="276999"/>
          </a:xfrm>
        </p:grpSpPr>
        <p:sp>
          <p:nvSpPr>
            <p:cNvPr id="13" name="타원 12">
              <a:extLst>
                <a:ext uri="{FF2B5EF4-FFF2-40B4-BE49-F238E27FC236}">
                  <a16:creationId xmlns:a16="http://schemas.microsoft.com/office/drawing/2014/main" id="{78657F73-E21F-800C-C5F8-C5B3321A38D2}"/>
                </a:ext>
              </a:extLst>
            </p:cNvPr>
            <p:cNvSpPr/>
            <p:nvPr/>
          </p:nvSpPr>
          <p:spPr>
            <a:xfrm>
              <a:off x="8041049" y="1487959"/>
              <a:ext cx="180975" cy="179387"/>
            </a:xfrm>
            <a:prstGeom prst="ellipse">
              <a:avLst/>
            </a:pr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" name="타원 13">
              <a:extLst>
                <a:ext uri="{FF2B5EF4-FFF2-40B4-BE49-F238E27FC236}">
                  <a16:creationId xmlns:a16="http://schemas.microsoft.com/office/drawing/2014/main" id="{26909CEE-0D3D-2260-3D11-8D20ADF941A1}"/>
                </a:ext>
              </a:extLst>
            </p:cNvPr>
            <p:cNvSpPr/>
            <p:nvPr/>
          </p:nvSpPr>
          <p:spPr>
            <a:xfrm>
              <a:off x="6144243" y="1487959"/>
              <a:ext cx="180975" cy="179387"/>
            </a:xfrm>
            <a:prstGeom prst="ellipse">
              <a:avLst/>
            </a:prstGeom>
            <a:solidFill>
              <a:srgbClr val="33CC3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6" name="직사각형 15">
              <a:extLst>
                <a:ext uri="{FF2B5EF4-FFF2-40B4-BE49-F238E27FC236}">
                  <a16:creationId xmlns:a16="http://schemas.microsoft.com/office/drawing/2014/main" id="{09CFBE14-E0DF-F7FB-50FE-E2DA131EB9FA}"/>
                </a:ext>
              </a:extLst>
            </p:cNvPr>
            <p:cNvSpPr/>
            <p:nvPr/>
          </p:nvSpPr>
          <p:spPr>
            <a:xfrm>
              <a:off x="6393092" y="1429628"/>
              <a:ext cx="684212" cy="27699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Exceeded Expectations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644F3BCC-7CAD-A508-AEED-F990743243DA}"/>
                </a:ext>
              </a:extLst>
            </p:cNvPr>
            <p:cNvSpPr/>
            <p:nvPr/>
          </p:nvSpPr>
          <p:spPr>
            <a:xfrm>
              <a:off x="7290730" y="1429628"/>
              <a:ext cx="684213" cy="27699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Goal Achieved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87057962-7370-6483-2FB2-C78AB6FA9FCC}"/>
                </a:ext>
              </a:extLst>
            </p:cNvPr>
            <p:cNvSpPr/>
            <p:nvPr/>
          </p:nvSpPr>
          <p:spPr>
            <a:xfrm>
              <a:off x="8193651" y="1429628"/>
              <a:ext cx="684212" cy="27699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Not Achieved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9" name="타원 18">
              <a:extLst>
                <a:ext uri="{FF2B5EF4-FFF2-40B4-BE49-F238E27FC236}">
                  <a16:creationId xmlns:a16="http://schemas.microsoft.com/office/drawing/2014/main" id="{41233A41-48C8-24A3-D527-89C6D11B2694}"/>
                </a:ext>
              </a:extLst>
            </p:cNvPr>
            <p:cNvSpPr/>
            <p:nvPr/>
          </p:nvSpPr>
          <p:spPr>
            <a:xfrm>
              <a:off x="7192305" y="1484784"/>
              <a:ext cx="180975" cy="179387"/>
            </a:xfrm>
            <a:prstGeom prst="ellipse">
              <a:avLst/>
            </a:prstGeom>
            <a:solidFill>
              <a:srgbClr val="3333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4" name="타원 3">
            <a:extLst>
              <a:ext uri="{FF2B5EF4-FFF2-40B4-BE49-F238E27FC236}">
                <a16:creationId xmlns:a16="http://schemas.microsoft.com/office/drawing/2014/main" id="{D1E8D485-8D8D-0FCB-5730-0D085F8D63EF}"/>
              </a:ext>
            </a:extLst>
          </p:cNvPr>
          <p:cNvSpPr/>
          <p:nvPr/>
        </p:nvSpPr>
        <p:spPr>
          <a:xfrm>
            <a:off x="8048077" y="2740391"/>
            <a:ext cx="180975" cy="179387"/>
          </a:xfrm>
          <a:prstGeom prst="ellipse">
            <a:avLst/>
          </a:prstGeom>
          <a:solidFill>
            <a:srgbClr val="3333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타원 7">
            <a:extLst>
              <a:ext uri="{FF2B5EF4-FFF2-40B4-BE49-F238E27FC236}">
                <a16:creationId xmlns:a16="http://schemas.microsoft.com/office/drawing/2014/main" id="{A50F0753-1B93-5595-6779-F2BD17C5EC4F}"/>
              </a:ext>
            </a:extLst>
          </p:cNvPr>
          <p:cNvSpPr/>
          <p:nvPr/>
        </p:nvSpPr>
        <p:spPr>
          <a:xfrm>
            <a:off x="8048077" y="3586100"/>
            <a:ext cx="180975" cy="179387"/>
          </a:xfrm>
          <a:prstGeom prst="ellipse">
            <a:avLst/>
          </a:prstGeom>
          <a:solidFill>
            <a:srgbClr val="3333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53811141-6408-059B-9D56-F9FAD547A6FD}"/>
              </a:ext>
            </a:extLst>
          </p:cNvPr>
          <p:cNvSpPr/>
          <p:nvPr/>
        </p:nvSpPr>
        <p:spPr>
          <a:xfrm>
            <a:off x="8048077" y="4130639"/>
            <a:ext cx="180975" cy="179387"/>
          </a:xfrm>
          <a:prstGeom prst="ellipse">
            <a:avLst/>
          </a:prstGeom>
          <a:solidFill>
            <a:srgbClr val="3333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3A0358FE-8856-25FA-56A0-058BD5FB13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0284378"/>
              </p:ext>
            </p:extLst>
          </p:nvPr>
        </p:nvGraphicFramePr>
        <p:xfrm>
          <a:off x="250825" y="1884303"/>
          <a:ext cx="8425630" cy="44429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90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00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41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60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76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200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3602983093"/>
                    </a:ext>
                  </a:extLst>
                </a:gridCol>
              </a:tblGrid>
              <a:tr h="7722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No.</a:t>
                      </a:r>
                      <a:endParaRPr lang="ko-KR" sz="110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/>
                        <a:t>Quality Attribute</a:t>
                      </a:r>
                      <a:endParaRPr lang="ko-KR" sz="1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/>
                        <a:t>Evaluation Item</a:t>
                      </a:r>
                      <a:endParaRPr lang="ko-KR" sz="1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/>
                        <a:t>Target Value</a:t>
                      </a:r>
                      <a:endParaRPr lang="ko-KR" sz="1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/>
                        <a:t>Evaluation Criteria (Acceptance Criteria)</a:t>
                      </a:r>
                      <a:endParaRPr lang="ko-KR" sz="1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/>
                        <a:t>Evaluation Details</a:t>
                      </a:r>
                      <a:endParaRPr lang="ko-KR" sz="1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/>
                        <a:t>Evaluation Result</a:t>
                      </a:r>
                      <a:endParaRPr lang="ko-KR" altLang="en-US" sz="1100" kern="1200" dirty="0">
                        <a:solidFill>
                          <a:schemeClr val="bg1"/>
                        </a:solidFill>
                        <a:effectLst/>
                        <a:latin typeface="나눔고딕" pitchFamily="2" charset="-127"/>
                        <a:ea typeface="+mn-ea"/>
                        <a:cs typeface="+mn-cs"/>
                      </a:endParaRPr>
                    </a:p>
                  </a:txBody>
                  <a:tcPr marL="19237" marR="19237" marT="19237" marB="1923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49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endParaRPr lang="ko-KR" sz="1100" dirty="0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Functional Suitability</a:t>
                      </a:r>
                      <a:endParaRPr lang="ko-KR" sz="10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Completeness of Function Implementation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</a:rPr>
                        <a:t>100%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Implementation of all requirements specified in the Requirements Specification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ko-KR" sz="1000" dirty="0"/>
                        <a:t>MetaQuest3 - Upper-Level Functions: 24 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MetaQuest3 - Lower-Level Functions: 37 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PC Version - Upper-Level Functions: 20 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PC Version - Lower-Level Functions: 42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75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2</a:t>
                      </a:r>
                      <a:endParaRPr lang="ko-KR" sz="1100" dirty="0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Portability</a:t>
                      </a:r>
                      <a:endParaRPr lang="ko-KR" sz="10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Ease of Installation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100%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Degree of effectiveness and efficiency in installing or removing the KICT-BIM application in the designated environment</a:t>
                      </a:r>
                      <a:endParaRPr lang="en-US" altLang="ko-KR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0 installation failures / 30 successful installations &amp; removals</a:t>
                      </a:r>
                      <a:endParaRPr lang="en-US" altLang="ko-KR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extLst>
                  <a:ext uri="{0D108BD9-81ED-4DB2-BD59-A6C34878D82A}">
                    <a16:rowId xmlns:a16="http://schemas.microsoft.com/office/drawing/2014/main" val="3807543945"/>
                  </a:ext>
                </a:extLst>
              </a:tr>
              <a:tr h="6596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3</a:t>
                      </a:r>
                      <a:endParaRPr lang="ko-KR" sz="1100" dirty="0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Security</a:t>
                      </a:r>
                      <a:endParaRPr lang="ko-KR" sz="10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Authentication Metho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100%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Number of login authentication test cases for the KICT-BIM application</a:t>
                      </a:r>
                      <a:endParaRPr lang="ko-KR" alt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altLang="ko-KR" sz="1000" dirty="0"/>
                        <a:t>MetaQuest3: 3 / 3 </a:t>
                      </a:r>
                      <a:br>
                        <a:rPr lang="fr-FR" altLang="ko-KR" sz="1000" dirty="0"/>
                      </a:br>
                      <a:r>
                        <a:rPr lang="fr-FR" altLang="ko-KR" sz="1000" dirty="0"/>
                        <a:t>PC Version: 3 / 3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extLst>
                  <a:ext uri="{0D108BD9-81ED-4DB2-BD59-A6C34878D82A}">
                    <a16:rowId xmlns:a16="http://schemas.microsoft.com/office/drawing/2014/main" val="3086120376"/>
                  </a:ext>
                </a:extLst>
              </a:tr>
              <a:tr h="69785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4</a:t>
                      </a:r>
                      <a:endParaRPr lang="ko-KR" sz="1100" dirty="0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Reliability</a:t>
                      </a:r>
                      <a:endParaRPr lang="ko-KR" sz="10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Test Coverage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100%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Number of executed test cases during the test period</a:t>
                      </a:r>
                      <a:endParaRPr lang="ko-KR" alt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MetaQuest3 - Functional (Unit) Test Cases: 54 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PC Version - Functional (Unit) Test Cases: 59 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COBIM - Digital Collaboration Platform Functionality (Integrated) Test Cases: 21</a:t>
                      </a:r>
                      <a:endParaRPr lang="en-US" altLang="ko-KR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extLst>
                  <a:ext uri="{0D108BD9-81ED-4DB2-BD59-A6C34878D82A}">
                    <a16:rowId xmlns:a16="http://schemas.microsoft.com/office/drawing/2014/main" val="231362897"/>
                  </a:ext>
                </a:extLst>
              </a:tr>
            </a:tbl>
          </a:graphicData>
        </a:graphic>
      </p:graphicFrame>
      <p:sp>
        <p:nvSpPr>
          <p:cNvPr id="11" name="타원 10">
            <a:extLst>
              <a:ext uri="{FF2B5EF4-FFF2-40B4-BE49-F238E27FC236}">
                <a16:creationId xmlns:a16="http://schemas.microsoft.com/office/drawing/2014/main" id="{D36B6ABD-096E-7611-58A8-E84D5DF3BE98}"/>
              </a:ext>
            </a:extLst>
          </p:cNvPr>
          <p:cNvSpPr/>
          <p:nvPr/>
        </p:nvSpPr>
        <p:spPr>
          <a:xfrm>
            <a:off x="8080005" y="3204915"/>
            <a:ext cx="180975" cy="179387"/>
          </a:xfrm>
          <a:prstGeom prst="ellipse">
            <a:avLst/>
          </a:prstGeom>
          <a:solidFill>
            <a:srgbClr val="3333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196965B2-5FE0-7C0E-50FB-27A60E90FFC7}"/>
              </a:ext>
            </a:extLst>
          </p:cNvPr>
          <p:cNvSpPr/>
          <p:nvPr/>
        </p:nvSpPr>
        <p:spPr>
          <a:xfrm>
            <a:off x="8082603" y="4149570"/>
            <a:ext cx="180975" cy="179387"/>
          </a:xfrm>
          <a:prstGeom prst="ellipse">
            <a:avLst/>
          </a:prstGeom>
          <a:solidFill>
            <a:srgbClr val="3333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8AB8C8BB-9B20-645A-CC3C-076E5381589B}"/>
              </a:ext>
            </a:extLst>
          </p:cNvPr>
          <p:cNvSpPr/>
          <p:nvPr/>
        </p:nvSpPr>
        <p:spPr>
          <a:xfrm>
            <a:off x="8074334" y="4825466"/>
            <a:ext cx="180975" cy="179387"/>
          </a:xfrm>
          <a:prstGeom prst="ellipse">
            <a:avLst/>
          </a:prstGeom>
          <a:solidFill>
            <a:srgbClr val="3333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5F37EB67-365F-B715-5BCA-09F6BB58D83B}"/>
              </a:ext>
            </a:extLst>
          </p:cNvPr>
          <p:cNvSpPr/>
          <p:nvPr/>
        </p:nvSpPr>
        <p:spPr>
          <a:xfrm>
            <a:off x="8084005" y="5731026"/>
            <a:ext cx="180975" cy="179387"/>
          </a:xfrm>
          <a:prstGeom prst="ellipse">
            <a:avLst/>
          </a:prstGeom>
          <a:solidFill>
            <a:srgbClr val="3333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6473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0824" y="692696"/>
            <a:ext cx="2078490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Summary of Results</a:t>
            </a:r>
            <a:endParaRPr lang="ko-KR" altLang="en-US" sz="1600" dirty="0"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latin typeface="나눔고딕" panose="020B0600000101010101" charset="-127"/>
                <a:ea typeface="나눔고딕" panose="020B0600000101010101" charset="-127"/>
              </a:rPr>
              <a:t>II. </a:t>
            </a:r>
            <a:r>
              <a:rPr lang="en-US" altLang="ko-KR" dirty="0"/>
              <a:t>Verification Results</a:t>
            </a:r>
            <a:endParaRPr lang="ko-KR" altLang="en-US" b="1" dirty="0"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250825" y="1124744"/>
            <a:ext cx="8642350" cy="213972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 w="19050"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  <a:spcBef>
                <a:spcPts val="120"/>
              </a:spcBef>
              <a:spcAft>
                <a:spcPts val="120"/>
              </a:spcAft>
            </a:pPr>
            <a:r>
              <a:rPr lang="en-US" altLang="ko-KR" sz="1100" dirty="0">
                <a:solidFill>
                  <a:schemeClr val="tx1"/>
                </a:solidFill>
                <a:ea typeface="맑은 고딕" panose="020B0503020000020004" pitchFamily="50" charset="-127"/>
              </a:rPr>
              <a:t>1. </a:t>
            </a:r>
            <a:r>
              <a:rPr lang="en-US" altLang="ko-KR" sz="1100" dirty="0">
                <a:solidFill>
                  <a:schemeClr val="tx1"/>
                </a:solidFill>
              </a:rPr>
              <a:t>Based on the business plan, comprehensive test plan, and requirements specification, a total of 134 test specifications were created for functional (unit) and functional (integration) tests:</a:t>
            </a:r>
            <a:endParaRPr lang="en-US" altLang="ko-KR" sz="1100" dirty="0">
              <a:solidFill>
                <a:schemeClr val="tx1"/>
              </a:solidFill>
              <a:ea typeface="맑은 고딕" panose="020B0503020000020004" pitchFamily="50" charset="-127"/>
            </a:endParaRPr>
          </a:p>
          <a:p>
            <a:pPr marL="171450" indent="-171450">
              <a:lnSpc>
                <a:spcPct val="150000"/>
              </a:lnSpc>
              <a:spcBef>
                <a:spcPts val="120"/>
              </a:spcBef>
              <a:spcAft>
                <a:spcPts val="120"/>
              </a:spcAft>
              <a:buFont typeface="Arial" panose="020B0604020202020204" pitchFamily="34" charset="0"/>
              <a:buChar char="•"/>
            </a:pPr>
            <a:r>
              <a:rPr lang="en-US" altLang="ko-KR" sz="1100" b="1" dirty="0">
                <a:solidFill>
                  <a:schemeClr val="tx1"/>
                </a:solidFill>
              </a:rPr>
              <a:t>MetaQuest3 Functional (Unit) Tests: </a:t>
            </a:r>
            <a:r>
              <a:rPr lang="en-US" altLang="ko-KR" sz="1100" dirty="0">
                <a:solidFill>
                  <a:schemeClr val="tx1"/>
                </a:solidFill>
              </a:rPr>
              <a:t>54 cases</a:t>
            </a:r>
          </a:p>
          <a:p>
            <a:pPr marL="171450" indent="-171450">
              <a:lnSpc>
                <a:spcPct val="150000"/>
              </a:lnSpc>
              <a:spcBef>
                <a:spcPts val="120"/>
              </a:spcBef>
              <a:spcAft>
                <a:spcPts val="120"/>
              </a:spcAft>
              <a:buFont typeface="Arial" panose="020B0604020202020204" pitchFamily="34" charset="0"/>
              <a:buChar char="•"/>
            </a:pPr>
            <a:r>
              <a:rPr lang="en-US" altLang="ko-KR" sz="1100" b="1" dirty="0">
                <a:solidFill>
                  <a:schemeClr val="tx1"/>
                </a:solidFill>
              </a:rPr>
              <a:t>PC Version Functional (Unit) Tests: </a:t>
            </a:r>
            <a:r>
              <a:rPr lang="en-US" altLang="ko-KR" sz="1100" dirty="0">
                <a:solidFill>
                  <a:schemeClr val="tx1"/>
                </a:solidFill>
              </a:rPr>
              <a:t>59 cases</a:t>
            </a:r>
            <a:endParaRPr lang="en-US" altLang="ko-KR" sz="1100" dirty="0">
              <a:solidFill>
                <a:schemeClr val="tx1"/>
              </a:solidFill>
              <a:ea typeface="맑은 고딕" panose="020B0503020000020004" pitchFamily="50" charset="-127"/>
            </a:endParaRPr>
          </a:p>
          <a:p>
            <a:pPr marL="171450" indent="-171450">
              <a:lnSpc>
                <a:spcPct val="150000"/>
              </a:lnSpc>
              <a:spcBef>
                <a:spcPts val="120"/>
              </a:spcBef>
              <a:spcAft>
                <a:spcPts val="120"/>
              </a:spcAft>
              <a:buFont typeface="Arial" panose="020B0604020202020204" pitchFamily="34" charset="0"/>
              <a:buChar char="•"/>
            </a:pPr>
            <a:r>
              <a:rPr lang="en-US" altLang="ko-KR" sz="1100" b="1" dirty="0" err="1">
                <a:solidFill>
                  <a:schemeClr val="tx1"/>
                </a:solidFill>
              </a:rPr>
              <a:t>Cobim</a:t>
            </a:r>
            <a:r>
              <a:rPr lang="en-US" altLang="ko-KR" sz="1100" b="1" dirty="0">
                <a:solidFill>
                  <a:schemeClr val="tx1"/>
                </a:solidFill>
              </a:rPr>
              <a:t> + MetaQuest3 + PC Version Application Functional (Integration) Tests: </a:t>
            </a:r>
            <a:r>
              <a:rPr lang="en-US" altLang="ko-KR" sz="1100" dirty="0">
                <a:solidFill>
                  <a:schemeClr val="tx1"/>
                </a:solidFill>
              </a:rPr>
              <a:t>21 cases</a:t>
            </a:r>
            <a:endParaRPr lang="en-US" altLang="ko-KR" sz="1100" dirty="0">
              <a:solidFill>
                <a:schemeClr val="tx1"/>
              </a:solidFill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  <a:spcBef>
                <a:spcPts val="120"/>
              </a:spcBef>
              <a:spcAft>
                <a:spcPts val="120"/>
              </a:spcAft>
            </a:pPr>
            <a:r>
              <a:rPr lang="en-US" altLang="ko-KR" sz="1100" dirty="0">
                <a:solidFill>
                  <a:schemeClr val="tx1"/>
                </a:solidFill>
                <a:ea typeface="맑은 고딕" panose="020B0503020000020004" pitchFamily="50" charset="-127"/>
              </a:rPr>
              <a:t>2. </a:t>
            </a:r>
            <a:r>
              <a:rPr lang="en-US" altLang="ko-KR" sz="1100" dirty="0">
                <a:solidFill>
                  <a:schemeClr val="tx1"/>
                </a:solidFill>
              </a:rPr>
              <a:t>All defects identified in the functional (unit) and functional (integration) tests were fixed and regression testing was conducted.</a:t>
            </a:r>
            <a:endParaRPr lang="en-US" altLang="ko-KR" sz="1100" dirty="0">
              <a:solidFill>
                <a:schemeClr val="tx1"/>
              </a:solidFill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  <a:spcBef>
                <a:spcPts val="120"/>
              </a:spcBef>
              <a:spcAft>
                <a:spcPts val="120"/>
              </a:spcAft>
            </a:pPr>
            <a:r>
              <a:rPr lang="en-US" altLang="ko-KR" sz="1100" dirty="0">
                <a:solidFill>
                  <a:schemeClr val="tx1"/>
                </a:solidFill>
                <a:ea typeface="맑은 고딕" panose="020B0503020000020004" pitchFamily="50" charset="-127"/>
              </a:rPr>
              <a:t>3. </a:t>
            </a:r>
            <a:r>
              <a:rPr lang="en-US" altLang="ko-KR" sz="1100" dirty="0">
                <a:solidFill>
                  <a:schemeClr val="tx1"/>
                </a:solidFill>
              </a:rPr>
              <a:t>The </a:t>
            </a:r>
            <a:r>
              <a:rPr lang="en-US" altLang="ko-KR" sz="1100" b="1" dirty="0">
                <a:solidFill>
                  <a:schemeClr val="tx1"/>
                </a:solidFill>
              </a:rPr>
              <a:t>VIRNECT KICT-BIM-based collaboration platform </a:t>
            </a:r>
            <a:r>
              <a:rPr lang="en-US" altLang="ko-KR" sz="1100" dirty="0">
                <a:solidFill>
                  <a:schemeClr val="tx1"/>
                </a:solidFill>
              </a:rPr>
              <a:t>achieved its quality objectives in </a:t>
            </a:r>
            <a:r>
              <a:rPr lang="en-US" altLang="ko-KR" sz="1100" b="1" dirty="0">
                <a:solidFill>
                  <a:schemeClr val="tx1"/>
                </a:solidFill>
              </a:rPr>
              <a:t>functional suitability</a:t>
            </a:r>
            <a:r>
              <a:rPr lang="en-US" altLang="ko-KR" sz="1100" dirty="0">
                <a:solidFill>
                  <a:schemeClr val="tx1"/>
                </a:solidFill>
              </a:rPr>
              <a:t>, </a:t>
            </a:r>
            <a:r>
              <a:rPr lang="en-US" altLang="ko-KR" sz="1100" b="1" dirty="0">
                <a:solidFill>
                  <a:schemeClr val="tx1"/>
                </a:solidFill>
                <a:ea typeface="나눔고딕" panose="020D0604000000000000" pitchFamily="50" charset="-127"/>
              </a:rPr>
              <a:t>p</a:t>
            </a:r>
            <a:r>
              <a:rPr lang="en-US" altLang="ko-KR" sz="1100" b="1" dirty="0">
                <a:solidFill>
                  <a:schemeClr val="tx1"/>
                </a:solidFill>
                <a:effectLst/>
                <a:latin typeface="+mn-lt"/>
                <a:ea typeface="나눔고딕" panose="020D0604000000000000" pitchFamily="50" charset="-127"/>
                <a:cs typeface="나눔고딕" panose="020D0604000000000000" pitchFamily="50" charset="-127"/>
              </a:rPr>
              <a:t>ortability</a:t>
            </a:r>
            <a:r>
              <a:rPr lang="en-US" altLang="ko-KR" sz="1100" dirty="0">
                <a:solidFill>
                  <a:schemeClr val="tx1"/>
                </a:solidFill>
              </a:rPr>
              <a:t>, </a:t>
            </a:r>
            <a:r>
              <a:rPr lang="en-US" altLang="ko-KR" sz="1100" b="1" dirty="0">
                <a:solidFill>
                  <a:schemeClr val="tx1"/>
                </a:solidFill>
              </a:rPr>
              <a:t>security</a:t>
            </a:r>
            <a:r>
              <a:rPr lang="en-US" altLang="ko-KR" sz="1100" dirty="0">
                <a:solidFill>
                  <a:schemeClr val="tx1"/>
                </a:solidFill>
              </a:rPr>
              <a:t>, </a:t>
            </a:r>
            <a:r>
              <a:rPr lang="en-US" altLang="ko-KR" sz="1100" b="1" dirty="0">
                <a:solidFill>
                  <a:schemeClr val="tx1"/>
                </a:solidFill>
              </a:rPr>
              <a:t>and reliability</a:t>
            </a:r>
            <a:r>
              <a:rPr lang="en-US" altLang="ko-KR" sz="1100" dirty="0">
                <a:solidFill>
                  <a:schemeClr val="tx1"/>
                </a:solidFill>
              </a:rPr>
              <a:t>, confirming </a:t>
            </a:r>
            <a:r>
              <a:rPr lang="en-US" altLang="ko-KR" sz="1100" b="1" dirty="0">
                <a:solidFill>
                  <a:srgbClr val="0000FF"/>
                </a:solidFill>
              </a:rPr>
              <a:t>"Goal Achieved."</a:t>
            </a:r>
            <a:endParaRPr lang="en-US" altLang="ko-KR" sz="1100" dirty="0">
              <a:solidFill>
                <a:srgbClr val="0000FF"/>
              </a:solidFill>
              <a:ea typeface="맑은 고딕" panose="020B0503020000020004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48680E-DFD0-B898-E9A8-F3002BCF095B}"/>
              </a:ext>
            </a:extLst>
          </p:cNvPr>
          <p:cNvSpPr txBox="1"/>
          <p:nvPr/>
        </p:nvSpPr>
        <p:spPr>
          <a:xfrm>
            <a:off x="251520" y="3429000"/>
            <a:ext cx="2077794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Verification Findings</a:t>
            </a:r>
            <a:endParaRPr lang="ko-KR" altLang="en-US" sz="1600" dirty="0"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C65CFF84-842B-DD6B-4827-7DCD09561BA2}"/>
              </a:ext>
            </a:extLst>
          </p:cNvPr>
          <p:cNvSpPr/>
          <p:nvPr/>
        </p:nvSpPr>
        <p:spPr>
          <a:xfrm>
            <a:off x="251520" y="3882534"/>
            <a:ext cx="8642350" cy="2489691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 w="19050"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altLang="ko-KR" sz="1100" dirty="0">
                <a:solidFill>
                  <a:schemeClr val="tx1"/>
                </a:solidFill>
              </a:rPr>
              <a:t>Functional (unit) and functional (integration) tests were conducted based on the </a:t>
            </a:r>
            <a:r>
              <a:rPr lang="en-US" altLang="ko-KR" sz="1100" b="1" dirty="0">
                <a:solidFill>
                  <a:schemeClr val="tx1"/>
                </a:solidFill>
              </a:rPr>
              <a:t>RTM (Requirements Traceability Matrix).</a:t>
            </a:r>
            <a:endParaRPr lang="en-US" altLang="ko-KR" sz="1100" b="1" dirty="0">
              <a:solidFill>
                <a:schemeClr val="tx1"/>
              </a:solidFill>
              <a:ea typeface="맑은 고딕" panose="020B0503020000020004" pitchFamily="50" charset="-127"/>
            </a:endParaRPr>
          </a:p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altLang="ko-KR" sz="1100" dirty="0">
                <a:solidFill>
                  <a:schemeClr val="tx1"/>
                </a:solidFill>
              </a:rPr>
              <a:t>Functional (integration) testing was conducted under a scenario where the </a:t>
            </a:r>
            <a:r>
              <a:rPr lang="en-US" altLang="ko-KR" sz="1100" b="1" dirty="0" err="1">
                <a:solidFill>
                  <a:schemeClr val="tx1"/>
                </a:solidFill>
              </a:rPr>
              <a:t>Cobim</a:t>
            </a:r>
            <a:r>
              <a:rPr lang="en-US" altLang="ko-KR" sz="1100" b="1" dirty="0">
                <a:solidFill>
                  <a:schemeClr val="tx1"/>
                </a:solidFill>
              </a:rPr>
              <a:t> platform interacted with the Meta Quest 3 and PC version applications.</a:t>
            </a:r>
            <a:r>
              <a:rPr lang="en-US" altLang="ko-KR" sz="1100" dirty="0">
                <a:solidFill>
                  <a:schemeClr val="tx1"/>
                </a:solidFill>
              </a:rPr>
              <a:t> Users participated in the same collaboration room to test </a:t>
            </a:r>
            <a:r>
              <a:rPr lang="en-US" altLang="ko-KR" sz="1100" b="1" dirty="0">
                <a:solidFill>
                  <a:schemeClr val="tx1"/>
                </a:solidFill>
              </a:rPr>
              <a:t>voice communication, model adjustments, parameter measurements, issue sharing, and spatial information sharing.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altLang="ko-KR" sz="1100" dirty="0">
                <a:solidFill>
                  <a:schemeClr val="tx1"/>
                </a:solidFill>
              </a:rPr>
              <a:t>During verification of implemented requirements and operation, </a:t>
            </a:r>
            <a:r>
              <a:rPr lang="en-US" altLang="ko-KR" sz="1100" b="1" dirty="0">
                <a:solidFill>
                  <a:schemeClr val="tx1"/>
                </a:solidFill>
              </a:rPr>
              <a:t>no critical issues</a:t>
            </a:r>
            <a:r>
              <a:rPr lang="en-US" altLang="ko-KR" sz="1100" dirty="0">
                <a:solidFill>
                  <a:schemeClr val="tx1"/>
                </a:solidFill>
              </a:rPr>
              <a:t> were found.</a:t>
            </a:r>
            <a:endParaRPr lang="en-US" altLang="ko-KR" sz="1100" dirty="0">
              <a:solidFill>
                <a:schemeClr val="tx1"/>
              </a:solidFill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792987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III</a:t>
            </a:r>
            <a:r>
              <a:rPr lang="ko-KR" altLang="en-US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fr-FR" altLang="ko-KR" dirty="0"/>
              <a:t>Appendix: Quality Verification Execution Environment</a:t>
            </a:r>
            <a:endParaRPr lang="ko-KR" altLang="en-US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11" name="직사각형 2"/>
          <p:cNvSpPr>
            <a:spLocks noChangeArrowheads="1"/>
          </p:cNvSpPr>
          <p:nvPr/>
        </p:nvSpPr>
        <p:spPr bwMode="auto">
          <a:xfrm>
            <a:off x="250825" y="764704"/>
            <a:ext cx="8642350" cy="116955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180975" indent="-180975" eaLnBrk="0" hangingPunct="0">
              <a:defRPr kumimoji="1">
                <a:solidFill>
                  <a:srgbClr val="000000"/>
                </a:solidFill>
                <a:latin typeface="휴먼모음T" pitchFamily="18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rgbClr val="000000"/>
                </a:solidFill>
                <a:latin typeface="휴먼모음T" pitchFamily="18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rgbClr val="000000"/>
                </a:solidFill>
                <a:latin typeface="휴먼모음T" pitchFamily="18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rgbClr val="000000"/>
                </a:solidFill>
                <a:latin typeface="휴먼모음T" pitchFamily="18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rgbClr val="000000"/>
                </a:solidFill>
                <a:latin typeface="휴먼모음T" pitchFamily="18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휴먼모음T" pitchFamily="18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휴먼모음T" pitchFamily="18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휴먼모음T" pitchFamily="18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휴먼모음T" pitchFamily="18" charset="-127"/>
                <a:ea typeface="굴림" pitchFamily="50" charset="-127"/>
              </a:defRPr>
            </a:lvl9pPr>
          </a:lstStyle>
          <a:p>
            <a:pPr eaLnBrk="1" latinLnBrk="0" hangingPunct="1"/>
            <a:r>
              <a:rPr lang="en-US" altLang="ko-KR" sz="1400" b="1" dirty="0">
                <a:latin typeface="+mn-lt"/>
              </a:rPr>
              <a:t>Verification Location</a:t>
            </a:r>
            <a:endParaRPr lang="en-US" altLang="ko-KR" sz="1400" b="1" dirty="0">
              <a:latin typeface="+mn-lt"/>
              <a:ea typeface="나눔고딕" panose="020D0604000000000000" pitchFamily="50" charset="-127"/>
            </a:endParaRPr>
          </a:p>
          <a:p>
            <a:pPr eaLnBrk="1" latinLnBrk="0" hangingPunct="1"/>
            <a:r>
              <a:rPr lang="en-US" altLang="ko-KR" sz="1400" dirty="0">
                <a:latin typeface="+mn-lt"/>
              </a:rPr>
              <a:t>Seoul, VIRNECT</a:t>
            </a:r>
            <a:endParaRPr lang="en-US" altLang="ko-KR" sz="1400" dirty="0">
              <a:latin typeface="+mn-lt"/>
              <a:ea typeface="나눔고딕" panose="020D0604000000000000" pitchFamily="50" charset="-127"/>
            </a:endParaRPr>
          </a:p>
          <a:p>
            <a:pPr eaLnBrk="1" latinLnBrk="0" hangingPunct="1"/>
            <a:endParaRPr lang="en-US" altLang="ko-KR" sz="1400" dirty="0">
              <a:latin typeface="+mn-lt"/>
              <a:ea typeface="나눔고딕" panose="020D0604000000000000" pitchFamily="50" charset="-127"/>
            </a:endParaRPr>
          </a:p>
          <a:p>
            <a:pPr eaLnBrk="1" latinLnBrk="0" hangingPunct="1"/>
            <a:r>
              <a:rPr lang="en-US" altLang="ko-KR" sz="1400" b="1" dirty="0">
                <a:latin typeface="+mn-lt"/>
              </a:rPr>
              <a:t>Verification Target</a:t>
            </a:r>
            <a:endParaRPr lang="en-US" altLang="ko-KR" sz="1400" b="1" dirty="0">
              <a:latin typeface="+mn-lt"/>
              <a:ea typeface="나눔고딕" panose="020D0604000000000000" pitchFamily="50" charset="-127"/>
            </a:endParaRPr>
          </a:p>
          <a:p>
            <a:pPr eaLnBrk="1" latinLnBrk="0" hangingPunct="1"/>
            <a:r>
              <a:rPr lang="en-US" altLang="ko-KR" sz="1400" dirty="0">
                <a:latin typeface="+mn-lt"/>
              </a:rPr>
              <a:t>KICT-BIM Based Collaboration Platform - XR Based</a:t>
            </a:r>
            <a:endParaRPr lang="en-US" altLang="ko-KR" sz="1400" dirty="0">
              <a:latin typeface="+mn-lt"/>
              <a:ea typeface="나눔고딕" panose="020D0604000000000000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52312" y="5882159"/>
            <a:ext cx="39752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/>
            <a:r>
              <a: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&lt;</a:t>
            </a:r>
            <a:r>
              <a:rPr lang="en-US" altLang="ko-KR" sz="1200" b="1" dirty="0"/>
              <a:t>Quality Verification Product Test Environment</a:t>
            </a:r>
            <a:r>
              <a: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&gt;</a:t>
            </a:r>
            <a:endParaRPr lang="ko-KR" altLang="en-US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6" name="그림 5" descr="실내, 벽, 의류, 사람이(가) 표시된 사진&#10;&#10;자동 생성된 설명">
            <a:extLst>
              <a:ext uri="{FF2B5EF4-FFF2-40B4-BE49-F238E27FC236}">
                <a16:creationId xmlns:a16="http://schemas.microsoft.com/office/drawing/2014/main" id="{401C6D24-1707-53DC-359E-F9570BEF6D2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933" y="2055321"/>
            <a:ext cx="4935281" cy="370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087072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AA3BAE68-4DA0-0E40-8EDF-FF940D7CE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Thank you</a:t>
            </a:r>
            <a:r>
              <a:rPr kumimoji="1" lang="en-US" altLang="ko-KR" dirty="0"/>
              <a:t>.</a:t>
            </a:r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334770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Revision History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>
          <a:xfrm>
            <a:off x="827584" y="881548"/>
            <a:ext cx="7416000" cy="1296304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spcBef>
                <a:spcPts val="320"/>
              </a:spcBef>
            </a:pPr>
            <a:r>
              <a:rPr lang="en-US" altLang="ko-KR" sz="1000" dirty="0">
                <a:solidFill>
                  <a:srgbClr val="000000"/>
                </a:solidFill>
                <a:ea typeface="나눔고딕" panose="020D0604000000000000" pitchFamily="50" charset="-127"/>
              </a:rPr>
              <a:t>VIRNECT Co., Ltd.</a:t>
            </a:r>
            <a:endParaRPr lang="ko-KR" altLang="en-US" sz="1000" dirty="0">
              <a:solidFill>
                <a:srgbClr val="000000"/>
              </a:solidFill>
              <a:ea typeface="나눔고딕" panose="020D0604000000000000" pitchFamily="50" charset="-127"/>
            </a:endParaRPr>
          </a:p>
          <a:p>
            <a:pPr algn="ctr" latinLnBrk="0">
              <a:spcBef>
                <a:spcPts val="320"/>
              </a:spcBef>
            </a:pPr>
            <a:r>
              <a:rPr lang="en-US" altLang="ko-KR" sz="2000" dirty="0">
                <a:solidFill>
                  <a:schemeClr val="tx1"/>
                </a:solidFill>
                <a:ea typeface="나눔고딕" panose="020D0604000000000000" pitchFamily="50" charset="-127"/>
              </a:rPr>
              <a:t>Quality Verification Report</a:t>
            </a:r>
            <a:r>
              <a:rPr lang="ko-KR" altLang="en-US" sz="2000" dirty="0">
                <a:solidFill>
                  <a:schemeClr val="tx1"/>
                </a:solidFill>
                <a:ea typeface="나눔고딕" panose="020D0604000000000000" pitchFamily="50" charset="-127"/>
              </a:rPr>
              <a:t> </a:t>
            </a:r>
            <a:endParaRPr lang="en-US" altLang="ko-KR" sz="2000" dirty="0">
              <a:solidFill>
                <a:schemeClr val="tx1"/>
              </a:solidFill>
              <a:ea typeface="나눔고딕" panose="020D0604000000000000" pitchFamily="50" charset="-127"/>
            </a:endParaRPr>
          </a:p>
          <a:p>
            <a:pPr algn="ctr" latinLnBrk="0">
              <a:spcBef>
                <a:spcPts val="320"/>
              </a:spcBef>
            </a:pPr>
            <a:r>
              <a:rPr lang="en-US" altLang="ko-KR" sz="1000" dirty="0">
                <a:solidFill>
                  <a:srgbClr val="000000"/>
                </a:solidFill>
                <a:ea typeface="+mj-ea"/>
              </a:rPr>
              <a:t>Document Number: QR-KICT-001 </a:t>
            </a:r>
          </a:p>
          <a:p>
            <a:pPr algn="ctr" latinLnBrk="0">
              <a:spcBef>
                <a:spcPts val="320"/>
              </a:spcBef>
            </a:pPr>
            <a:r>
              <a:rPr lang="en-US" altLang="ko-KR" sz="1000" dirty="0">
                <a:solidFill>
                  <a:srgbClr val="000000"/>
                </a:solidFill>
                <a:ea typeface="나눔고딕" panose="020D0604000000000000" pitchFamily="50" charset="-127"/>
              </a:rPr>
              <a:t>Revision Number: REV. 1.0</a:t>
            </a:r>
            <a:endParaRPr lang="en-US" altLang="ko-KR" sz="1000" dirty="0">
              <a:solidFill>
                <a:schemeClr val="tx1"/>
              </a:solidFill>
              <a:ea typeface="나눔고딕" panose="020D0604000000000000" pitchFamily="50" charset="-127"/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5396443"/>
              </p:ext>
            </p:extLst>
          </p:nvPr>
        </p:nvGraphicFramePr>
        <p:xfrm>
          <a:off x="462013" y="2276870"/>
          <a:ext cx="8316228" cy="404965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1304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96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280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609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026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5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0496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US" altLang="ko-KR" sz="1100" dirty="0"/>
                        <a:t>Revision History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</a:p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</a:p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　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REV.1.0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/>
                        <a:t>December 3, 2024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dirty="0"/>
                        <a:t>Reflecting Quality Verification Results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Kim Sung-</a:t>
                      </a:r>
                      <a:r>
                        <a:rPr lang="en-US" altLang="ko-KR" sz="110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tae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Kim Ji-</a:t>
                      </a:r>
                      <a:r>
                        <a:rPr lang="en-US" altLang="ko-KR" sz="110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soo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Gu Woo-young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REV. 0.1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/>
                        <a:t>December 2, 2024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dirty="0"/>
                        <a:t>Initial Draft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Kim Sung-</a:t>
                      </a:r>
                      <a:r>
                        <a:rPr lang="en-US" altLang="ko-KR" sz="110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tae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Kim Ji-</a:t>
                      </a:r>
                      <a:r>
                        <a:rPr lang="en-US" altLang="ko-KR" sz="110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soo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Gu Woo-young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개정번호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일자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dirty="0"/>
                        <a:t>Reason for Revision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dirty="0"/>
                        <a:t>Prepared by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dirty="0"/>
                        <a:t>Reviewed by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dirty="0"/>
                        <a:t>Approved by</a:t>
                      </a:r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06900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직사각형 31"/>
          <p:cNvSpPr/>
          <p:nvPr/>
        </p:nvSpPr>
        <p:spPr>
          <a:xfrm>
            <a:off x="-23125" y="0"/>
            <a:ext cx="3129440" cy="6750000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  <a:ln w="19050"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ko-KR" sz="12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제목 1"/>
          <p:cNvSpPr txBox="1">
            <a:spLocks/>
          </p:cNvSpPr>
          <p:nvPr/>
        </p:nvSpPr>
        <p:spPr>
          <a:xfrm>
            <a:off x="683567" y="1004297"/>
            <a:ext cx="1790125" cy="454360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sz="1800" b="1" kern="1200">
                <a:solidFill>
                  <a:srgbClr val="053063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</a:lstStyle>
          <a:p>
            <a:r>
              <a:rPr lang="en-US" altLang="ko-KR" sz="2000" dirty="0">
                <a:solidFill>
                  <a:schemeClr val="tx1"/>
                </a:solidFill>
                <a:latin typeface="+mn-lt"/>
              </a:rPr>
              <a:t>Table of Contents</a:t>
            </a:r>
            <a:endParaRPr lang="ko-KR" altLang="en-US" sz="2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0" name="그룹 2"/>
          <p:cNvGrpSpPr/>
          <p:nvPr/>
        </p:nvGrpSpPr>
        <p:grpSpPr>
          <a:xfrm>
            <a:off x="3348583" y="1676907"/>
            <a:ext cx="5111849" cy="551551"/>
            <a:chOff x="1476375" y="983174"/>
            <a:chExt cx="5111849" cy="551551"/>
          </a:xfrm>
        </p:grpSpPr>
        <p:sp>
          <p:nvSpPr>
            <p:cNvPr id="11" name="Text Box 16"/>
            <p:cNvSpPr txBox="1">
              <a:spLocks noChangeArrowheads="1"/>
            </p:cNvSpPr>
            <p:nvPr/>
          </p:nvSpPr>
          <p:spPr bwMode="auto">
            <a:xfrm>
              <a:off x="2339752" y="983174"/>
              <a:ext cx="4248472" cy="551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 anchorCtr="0">
              <a:noAutofit/>
            </a:bodyPr>
            <a:lstStyle>
              <a:lvl1pPr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1pPr>
              <a:lvl2pPr marL="742950" indent="-28575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2pPr>
              <a:lvl3pPr marL="11430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3pPr>
              <a:lvl4pPr marL="16002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4pPr>
              <a:lvl5pPr marL="20574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5pPr>
              <a:lvl6pPr marL="25146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6pPr>
              <a:lvl7pPr marL="29718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7pPr>
              <a:lvl8pPr marL="34290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8pPr>
              <a:lvl9pPr marL="38862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9pPr>
            </a:lstStyle>
            <a:p>
              <a:pPr latinLnBrk="0">
                <a:lnSpc>
                  <a:spcPct val="120000"/>
                </a:lnSpc>
                <a:buNone/>
                <a:defRPr/>
              </a:pPr>
              <a:r>
                <a:rPr lang="en-US" altLang="ko-KR" sz="2000" b="1" dirty="0">
                  <a:latin typeface="+mn-lt"/>
                </a:rPr>
                <a:t>Verification Results</a:t>
              </a:r>
              <a:endParaRPr lang="ko-KR" altLang="en-US" sz="1600" b="1" dirty="0">
                <a:latin typeface="+mn-lt"/>
                <a:ea typeface="나눔고딕" panose="020D0604000000000000" pitchFamily="50" charset="-127"/>
              </a:endParaRPr>
            </a:p>
          </p:txBody>
        </p:sp>
        <p:sp>
          <p:nvSpPr>
            <p:cNvPr id="12" name="Text Box 16"/>
            <p:cNvSpPr txBox="1">
              <a:spLocks noChangeArrowheads="1"/>
            </p:cNvSpPr>
            <p:nvPr/>
          </p:nvSpPr>
          <p:spPr bwMode="auto">
            <a:xfrm>
              <a:off x="1505472" y="1083802"/>
              <a:ext cx="402232" cy="3527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 anchorCtr="0">
              <a:noAutofit/>
            </a:bodyPr>
            <a:lstStyle>
              <a:lvl1pPr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1pPr>
              <a:lvl2pPr marL="742950" indent="-28575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2pPr>
              <a:lvl3pPr marL="11430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3pPr>
              <a:lvl4pPr marL="16002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4pPr>
              <a:lvl5pPr marL="20574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5pPr>
              <a:lvl6pPr marL="25146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6pPr>
              <a:lvl7pPr marL="29718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7pPr>
              <a:lvl8pPr marL="34290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8pPr>
              <a:lvl9pPr marL="38862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9pPr>
            </a:lstStyle>
            <a:p>
              <a:pPr algn="ctr" eaLnBrk="1" hangingPunct="1">
                <a:buClr>
                  <a:schemeClr val="bg1"/>
                </a:buClr>
                <a:buFont typeface="Wingdings" pitchFamily="2" charset="2"/>
                <a:buNone/>
              </a:pPr>
              <a:r>
                <a:rPr lang="en-US" altLang="ko-KR" sz="20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1</a:t>
              </a:r>
              <a:endParaRPr lang="ko-KR" altLang="en-US" sz="20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3" name="모서리가 둥근 직사각형 29"/>
            <p:cNvSpPr/>
            <p:nvPr/>
          </p:nvSpPr>
          <p:spPr bwMode="auto">
            <a:xfrm>
              <a:off x="1476375" y="1090510"/>
              <a:ext cx="503337" cy="36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889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 anchorCtr="0">
              <a:noAutofit/>
            </a:bodyPr>
            <a:lstStyle/>
            <a:p>
              <a:pPr algn="ctr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defRPr/>
              </a:pPr>
              <a:r>
                <a:rPr lang="en-US" altLang="ko-KR" sz="2000" b="1" dirty="0">
                  <a:solidFill>
                    <a:schemeClr val="tx1"/>
                  </a:solidFill>
                  <a:ea typeface="나눔고딕" panose="020D0604000000000000" pitchFamily="50" charset="-127"/>
                </a:rPr>
                <a:t>II</a:t>
              </a:r>
              <a:endParaRPr lang="ko-KR" altLang="en-US" sz="2000" b="1" dirty="0">
                <a:solidFill>
                  <a:schemeClr val="tx1"/>
                </a:solidFill>
                <a:ea typeface="나눔고딕" panose="020D0604000000000000" pitchFamily="50" charset="-127"/>
              </a:endParaRPr>
            </a:p>
          </p:txBody>
        </p:sp>
      </p:grpSp>
      <p:grpSp>
        <p:nvGrpSpPr>
          <p:cNvPr id="16" name="그룹 8"/>
          <p:cNvGrpSpPr/>
          <p:nvPr/>
        </p:nvGrpSpPr>
        <p:grpSpPr>
          <a:xfrm>
            <a:off x="3348583" y="2445094"/>
            <a:ext cx="5111849" cy="551551"/>
            <a:chOff x="1476375" y="983174"/>
            <a:chExt cx="5111849" cy="551551"/>
          </a:xfrm>
        </p:grpSpPr>
        <p:sp>
          <p:nvSpPr>
            <p:cNvPr id="17" name="Text Box 16"/>
            <p:cNvSpPr txBox="1">
              <a:spLocks noChangeArrowheads="1"/>
            </p:cNvSpPr>
            <p:nvPr/>
          </p:nvSpPr>
          <p:spPr bwMode="auto">
            <a:xfrm>
              <a:off x="2339752" y="983174"/>
              <a:ext cx="4248472" cy="551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 anchorCtr="0">
              <a:noAutofit/>
            </a:bodyPr>
            <a:lstStyle>
              <a:lvl1pPr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1pPr>
              <a:lvl2pPr marL="742950" indent="-28575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2pPr>
              <a:lvl3pPr marL="11430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3pPr>
              <a:lvl4pPr marL="16002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4pPr>
              <a:lvl5pPr marL="20574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5pPr>
              <a:lvl6pPr marL="25146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6pPr>
              <a:lvl7pPr marL="29718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7pPr>
              <a:lvl8pPr marL="34290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8pPr>
              <a:lvl9pPr marL="38862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9pPr>
            </a:lstStyle>
            <a:p>
              <a:pPr latinLnBrk="0">
                <a:lnSpc>
                  <a:spcPct val="120000"/>
                </a:lnSpc>
                <a:buNone/>
                <a:defRPr/>
              </a:pPr>
              <a:r>
                <a:rPr lang="en-US" altLang="ko-KR" sz="2000" b="1" dirty="0">
                  <a:latin typeface="+mn-lt"/>
                </a:rPr>
                <a:t>Appendix</a:t>
              </a:r>
              <a:endParaRPr lang="ko-KR" altLang="en-US" sz="1600" b="1" dirty="0">
                <a:latin typeface="+mn-lt"/>
                <a:ea typeface="나눔고딕" panose="020D0604000000000000" pitchFamily="50" charset="-127"/>
              </a:endParaRPr>
            </a:p>
          </p:txBody>
        </p:sp>
        <p:sp>
          <p:nvSpPr>
            <p:cNvPr id="18" name="Text Box 16"/>
            <p:cNvSpPr txBox="1">
              <a:spLocks noChangeArrowheads="1"/>
            </p:cNvSpPr>
            <p:nvPr/>
          </p:nvSpPr>
          <p:spPr bwMode="auto">
            <a:xfrm>
              <a:off x="1505472" y="1083802"/>
              <a:ext cx="402232" cy="3527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 anchorCtr="0">
              <a:noAutofit/>
            </a:bodyPr>
            <a:lstStyle>
              <a:lvl1pPr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1pPr>
              <a:lvl2pPr marL="742950" indent="-28575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2pPr>
              <a:lvl3pPr marL="11430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3pPr>
              <a:lvl4pPr marL="16002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4pPr>
              <a:lvl5pPr marL="20574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5pPr>
              <a:lvl6pPr marL="25146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6pPr>
              <a:lvl7pPr marL="29718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7pPr>
              <a:lvl8pPr marL="34290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8pPr>
              <a:lvl9pPr marL="38862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9pPr>
            </a:lstStyle>
            <a:p>
              <a:pPr algn="ctr" eaLnBrk="1" hangingPunct="1">
                <a:buClr>
                  <a:schemeClr val="bg1"/>
                </a:buClr>
                <a:buFont typeface="Wingdings" pitchFamily="2" charset="2"/>
                <a:buNone/>
              </a:pPr>
              <a:r>
                <a:rPr lang="en-US" altLang="ko-KR" sz="20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1</a:t>
              </a:r>
              <a:endParaRPr lang="ko-KR" altLang="en-US" sz="20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9" name="모서리가 둥근 직사각형 11"/>
            <p:cNvSpPr/>
            <p:nvPr/>
          </p:nvSpPr>
          <p:spPr bwMode="auto">
            <a:xfrm>
              <a:off x="1476375" y="1090510"/>
              <a:ext cx="503337" cy="36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889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 anchorCtr="0">
              <a:noAutofit/>
            </a:bodyPr>
            <a:lstStyle/>
            <a:p>
              <a:pPr algn="ctr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defRPr/>
              </a:pPr>
              <a:r>
                <a:rPr lang="en-US" altLang="ko-KR" sz="2000" b="1" dirty="0">
                  <a:solidFill>
                    <a:schemeClr val="tx1"/>
                  </a:solidFill>
                  <a:ea typeface="나눔고딕" panose="020D0604000000000000" pitchFamily="50" charset="-127"/>
                </a:rPr>
                <a:t>III</a:t>
              </a:r>
              <a:endParaRPr lang="ko-KR" altLang="en-US" sz="2000" b="1" dirty="0">
                <a:solidFill>
                  <a:schemeClr val="tx1"/>
                </a:solidFill>
                <a:ea typeface="나눔고딕" panose="020D0604000000000000" pitchFamily="50" charset="-127"/>
              </a:endParaRPr>
            </a:p>
          </p:txBody>
        </p:sp>
      </p:grpSp>
      <p:grpSp>
        <p:nvGrpSpPr>
          <p:cNvPr id="24" name="그룹 2"/>
          <p:cNvGrpSpPr/>
          <p:nvPr/>
        </p:nvGrpSpPr>
        <p:grpSpPr>
          <a:xfrm>
            <a:off x="3348583" y="908720"/>
            <a:ext cx="5111849" cy="551551"/>
            <a:chOff x="1476375" y="983174"/>
            <a:chExt cx="5111849" cy="551551"/>
          </a:xfrm>
        </p:grpSpPr>
        <p:sp>
          <p:nvSpPr>
            <p:cNvPr id="29" name="Text Box 16"/>
            <p:cNvSpPr txBox="1">
              <a:spLocks noChangeArrowheads="1"/>
            </p:cNvSpPr>
            <p:nvPr/>
          </p:nvSpPr>
          <p:spPr bwMode="auto">
            <a:xfrm>
              <a:off x="2339752" y="983174"/>
              <a:ext cx="4248472" cy="551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 anchorCtr="0">
              <a:noAutofit/>
            </a:bodyPr>
            <a:lstStyle>
              <a:lvl1pPr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1pPr>
              <a:lvl2pPr marL="742950" indent="-28575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2pPr>
              <a:lvl3pPr marL="11430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3pPr>
              <a:lvl4pPr marL="16002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4pPr>
              <a:lvl5pPr marL="20574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5pPr>
              <a:lvl6pPr marL="25146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6pPr>
              <a:lvl7pPr marL="29718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7pPr>
              <a:lvl8pPr marL="34290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8pPr>
              <a:lvl9pPr marL="38862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9pPr>
            </a:lstStyle>
            <a:p>
              <a:pPr latinLnBrk="0">
                <a:lnSpc>
                  <a:spcPct val="120000"/>
                </a:lnSpc>
                <a:buNone/>
                <a:defRPr/>
              </a:pPr>
              <a:r>
                <a:rPr lang="en-US" altLang="ko-KR" sz="2000" b="1" dirty="0">
                  <a:latin typeface="+mn-lt"/>
                </a:rPr>
                <a:t>Verification Overview</a:t>
              </a:r>
              <a:endParaRPr lang="ko-KR" altLang="en-US" sz="1600" b="1" dirty="0">
                <a:latin typeface="+mn-lt"/>
                <a:ea typeface="나눔고딕" panose="020D0604000000000000" pitchFamily="50" charset="-127"/>
              </a:endParaRPr>
            </a:p>
          </p:txBody>
        </p:sp>
        <p:sp>
          <p:nvSpPr>
            <p:cNvPr id="30" name="Text Box 16"/>
            <p:cNvSpPr txBox="1">
              <a:spLocks noChangeArrowheads="1"/>
            </p:cNvSpPr>
            <p:nvPr/>
          </p:nvSpPr>
          <p:spPr bwMode="auto">
            <a:xfrm>
              <a:off x="1505472" y="1083802"/>
              <a:ext cx="402232" cy="3527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 anchorCtr="0">
              <a:noAutofit/>
            </a:bodyPr>
            <a:lstStyle>
              <a:lvl1pPr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1pPr>
              <a:lvl2pPr marL="742950" indent="-28575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2pPr>
              <a:lvl3pPr marL="11430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3pPr>
              <a:lvl4pPr marL="16002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4pPr>
              <a:lvl5pPr marL="2057400" indent="-228600" eaLnBrk="0" hangingPunct="0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5pPr>
              <a:lvl6pPr marL="25146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6pPr>
              <a:lvl7pPr marL="29718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7pPr>
              <a:lvl8pPr marL="34290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8pPr>
              <a:lvl9pPr marL="3886200" indent="-228600" eaLnBrk="0" fontAlgn="base" hangingPunct="0">
                <a:lnSpc>
                  <a:spcPct val="13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•"/>
                <a:defRPr kumimoji="1" sz="1400">
                  <a:solidFill>
                    <a:schemeClr val="tx1"/>
                  </a:solidFill>
                  <a:latin typeface="Tahoma" pitchFamily="34" charset="0"/>
                  <a:ea typeface="휴먼모음T" pitchFamily="18" charset="-127"/>
                </a:defRPr>
              </a:lvl9pPr>
            </a:lstStyle>
            <a:p>
              <a:pPr algn="ctr" eaLnBrk="1" hangingPunct="1">
                <a:buClr>
                  <a:schemeClr val="bg1"/>
                </a:buClr>
                <a:buFont typeface="Wingdings" pitchFamily="2" charset="2"/>
                <a:buNone/>
              </a:pPr>
              <a:r>
                <a:rPr lang="en-US" altLang="ko-KR" sz="2000" b="1" dirty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1</a:t>
              </a:r>
              <a:endParaRPr lang="ko-KR" altLang="en-US" sz="20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31" name="모서리가 둥근 직사각형 29"/>
            <p:cNvSpPr/>
            <p:nvPr/>
          </p:nvSpPr>
          <p:spPr bwMode="auto">
            <a:xfrm>
              <a:off x="1476375" y="1090510"/>
              <a:ext cx="503337" cy="36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889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 anchorCtr="0">
              <a:noAutofit/>
            </a:bodyPr>
            <a:lstStyle/>
            <a:p>
              <a:pPr algn="ctr">
                <a:lnSpc>
                  <a:spcPct val="130000"/>
                </a:lnSpc>
                <a:spcBef>
                  <a:spcPct val="20000"/>
                </a:spcBef>
                <a:buClr>
                  <a:schemeClr val="tx1"/>
                </a:buClr>
                <a:buSzPct val="100000"/>
                <a:defRPr/>
              </a:pPr>
              <a:r>
                <a:rPr lang="en-US" altLang="ko-KR" sz="2000" b="1" dirty="0">
                  <a:solidFill>
                    <a:schemeClr val="tx1"/>
                  </a:solidFill>
                  <a:ea typeface="나눔고딕" panose="020D0604000000000000" pitchFamily="50" charset="-127"/>
                </a:rPr>
                <a:t>I</a:t>
              </a:r>
              <a:endParaRPr lang="ko-KR" altLang="en-US" sz="2000" b="1" dirty="0">
                <a:solidFill>
                  <a:schemeClr val="tx1"/>
                </a:solidFill>
                <a:ea typeface="나눔고딕" panose="020D0604000000000000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8485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. Verification Overview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16" name="직사각형 15"/>
          <p:cNvSpPr/>
          <p:nvPr/>
        </p:nvSpPr>
        <p:spPr>
          <a:xfrm>
            <a:off x="241996" y="990340"/>
            <a:ext cx="8642350" cy="453328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lnSpc>
                <a:spcPct val="1200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ea typeface="맑은 고딕" panose="020B0503020000020004" pitchFamily="50" charset="-127"/>
                <a:cs typeface="Malgun Gothic Semilight" panose="020B0502040204020203" pitchFamily="50" charset="-127"/>
              </a:rPr>
              <a:t>Check the progress of 2024 development tasks and manage risks within the business scope.</a:t>
            </a:r>
          </a:p>
          <a:p>
            <a:pPr marL="228600" indent="-228600">
              <a:lnSpc>
                <a:spcPct val="120000"/>
              </a:lnSpc>
              <a:buFont typeface="+mj-lt"/>
              <a:buAutoNum type="arabicPeriod"/>
            </a:pPr>
            <a:r>
              <a:rPr lang="en-US" altLang="ko-KR" sz="1100" dirty="0">
                <a:solidFill>
                  <a:schemeClr val="tx1"/>
                </a:solidFill>
                <a:ea typeface="맑은 고딕" panose="020B0503020000020004" pitchFamily="50" charset="-127"/>
                <a:cs typeface="Malgun Gothic Semilight" panose="020B0502040204020203" pitchFamily="50" charset="-127"/>
              </a:rPr>
              <a:t>Ensure quality by eliminating defects introduced during the development process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41995" y="2886085"/>
            <a:ext cx="2703334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Schedule</a:t>
            </a:r>
            <a:endParaRPr lang="ko-KR" altLang="en-US" sz="1600" dirty="0">
              <a:ea typeface="나눔고딕" panose="020D0604000000000000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1995" y="605638"/>
            <a:ext cx="2703335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Verification Objectives</a:t>
            </a:r>
            <a:endParaRPr lang="ko-KR" altLang="en-US" sz="1600" dirty="0">
              <a:ea typeface="나눔고딕" panose="020D0604000000000000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250130" y="2061629"/>
            <a:ext cx="8642350" cy="752448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lnSpc>
                <a:spcPct val="120000"/>
              </a:lnSpc>
              <a:buFont typeface="+mj-lt"/>
              <a:buAutoNum type="arabicPeriod"/>
              <a:defRPr/>
            </a:pPr>
            <a:r>
              <a:rPr lang="en-US" altLang="ko-KR" sz="1100" dirty="0">
                <a:solidFill>
                  <a:schemeClr val="tx1"/>
                </a:solidFill>
                <a:ea typeface="맑은 고딕" panose="020B0503020000020004" pitchFamily="50" charset="-127"/>
              </a:rPr>
              <a:t>Verify the derivation of development quality for 2024.</a:t>
            </a:r>
          </a:p>
          <a:p>
            <a:pPr marL="228600" indent="-228600">
              <a:lnSpc>
                <a:spcPct val="120000"/>
              </a:lnSpc>
              <a:buFont typeface="+mj-lt"/>
              <a:buAutoNum type="arabicPeriod"/>
              <a:defRPr/>
            </a:pPr>
            <a:r>
              <a:rPr lang="en-US" altLang="ko-KR" sz="1100" dirty="0">
                <a:solidFill>
                  <a:schemeClr val="tx1"/>
                </a:solidFill>
                <a:ea typeface="맑은 고딕" panose="020B0503020000020004" pitchFamily="50" charset="-127"/>
              </a:rPr>
              <a:t>Confirm achievement of quality goals within the 2024 comprehensive test plan.</a:t>
            </a:r>
          </a:p>
          <a:p>
            <a:pPr marL="228600" indent="-228600">
              <a:lnSpc>
                <a:spcPct val="120000"/>
              </a:lnSpc>
              <a:buFont typeface="+mj-lt"/>
              <a:buAutoNum type="arabicPeriod"/>
              <a:defRPr/>
            </a:pPr>
            <a:r>
              <a:rPr lang="en-US" altLang="ko-KR" sz="1100" dirty="0">
                <a:solidFill>
                  <a:schemeClr val="tx1"/>
                </a:solidFill>
                <a:ea typeface="맑은 고딕" panose="020B0503020000020004" pitchFamily="50" charset="-127"/>
              </a:rPr>
              <a:t>Verify the implementation of internal quality verification functions for requirement items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50130" y="1630766"/>
            <a:ext cx="2695200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Verification Goals</a:t>
            </a:r>
            <a:endParaRPr lang="ko-KR" altLang="en-US" sz="1600" dirty="0">
              <a:ea typeface="나눔고딕" panose="020D0604000000000000" pitchFamily="50" charset="-127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5996895"/>
              </p:ext>
            </p:extLst>
          </p:nvPr>
        </p:nvGraphicFramePr>
        <p:xfrm>
          <a:off x="251520" y="3318133"/>
          <a:ext cx="8634217" cy="3271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6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87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3851">
                  <a:extLst>
                    <a:ext uri="{9D8B030D-6E8A-4147-A177-3AD203B41FA5}">
                      <a16:colId xmlns:a16="http://schemas.microsoft.com/office/drawing/2014/main" val="847876843"/>
                    </a:ext>
                  </a:extLst>
                </a:gridCol>
                <a:gridCol w="25699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71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16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52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0847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1000" b="1" i="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</a:rPr>
                        <a:t>No.</a:t>
                      </a:r>
                      <a:endParaRPr lang="ko-KR" altLang="en-US" sz="1000" b="1" i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en-US" altLang="ko-KR" sz="1000" b="1" i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Schedule</a:t>
                      </a:r>
                      <a:endParaRPr lang="ko-KR" altLang="en-US" sz="1000" b="1" i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en-US" altLang="ko-KR" sz="1000" b="1" i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Content</a:t>
                      </a:r>
                      <a:endParaRPr lang="ko-KR" altLang="en-US" sz="1000" b="1" i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en-US" altLang="ko-KR" sz="1000" b="1" i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Key Tasks</a:t>
                      </a:r>
                      <a:endParaRPr lang="ko-KR" altLang="en-US" sz="1000" b="1" i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en-US" altLang="ko-KR" sz="1000" b="1" i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Responsible Party</a:t>
                      </a:r>
                      <a:endParaRPr lang="ko-KR" altLang="en-US" sz="1000" b="1" i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en-US" altLang="ko-KR" sz="1000" b="1" i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Notes</a:t>
                      </a:r>
                      <a:endParaRPr lang="ko-KR" altLang="en-US" sz="1000" b="1" i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0846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20000"/>
                        </a:lnSpc>
                      </a:pP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1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20000"/>
                        </a:lnSpc>
                      </a:pP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2024-11-04 ~</a:t>
                      </a:r>
                    </a:p>
                    <a:p>
                      <a:pPr marL="0" algn="ctr" defTabSz="914400" rtl="0" eaLnBrk="1" latinLnBrk="1" hangingPunct="1">
                        <a:lnSpc>
                          <a:spcPct val="120000"/>
                        </a:lnSpc>
                      </a:pP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2024-11-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20000"/>
                        </a:lnSpc>
                      </a:pPr>
                      <a:r>
                        <a:rPr lang="en-US" altLang="ko-KR" sz="1000" dirty="0"/>
                        <a:t>Unit (Module) Testing</a:t>
                      </a:r>
                      <a:endParaRPr lang="en-US" altLang="ko-KR" sz="1000" b="0" kern="1200" dirty="0">
                        <a:solidFill>
                          <a:schemeClr val="tx1"/>
                        </a:solidFill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20000"/>
                        </a:lnSpc>
                        <a:buFont typeface="+mj-lt"/>
                        <a:buNone/>
                      </a:pPr>
                      <a:r>
                        <a:rPr lang="en-US" altLang="ko-KR" sz="1000" dirty="0"/>
                        <a:t>1. Identify development targets and verification scope.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2. Establish quality verification plan.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3. Secure test environment using test data.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4. Execute quality verification.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5. Record and analyze verification results.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VIRNECT Co., Ltd.</a:t>
                      </a:r>
                      <a:endParaRPr lang="en-US" altLang="ko-KR" sz="1000" b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Kim Ji-</a:t>
                      </a:r>
                      <a:r>
                        <a:rPr lang="en-US" altLang="ko-KR" sz="1000" dirty="0" err="1"/>
                        <a:t>soo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Oh Jin-</a:t>
                      </a:r>
                      <a:r>
                        <a:rPr lang="en-US" altLang="ko-KR" sz="1000" dirty="0" err="1"/>
                        <a:t>seok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Park Yong-min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Kim Sung-</a:t>
                      </a:r>
                      <a:r>
                        <a:rPr lang="en-US" altLang="ko-KR" sz="1000" dirty="0" err="1"/>
                        <a:t>tae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790720"/>
                  </a:ext>
                </a:extLst>
              </a:tr>
              <a:tr h="402463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20000"/>
                        </a:lnSpc>
                      </a:pP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2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20000"/>
                        </a:lnSpc>
                      </a:pP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2024-11-18 ~</a:t>
                      </a:r>
                    </a:p>
                    <a:p>
                      <a:pPr marL="0" algn="ctr" defTabSz="914400" rtl="0" eaLnBrk="1" latinLnBrk="1" hangingPunct="1">
                        <a:lnSpc>
                          <a:spcPct val="120000"/>
                        </a:lnSpc>
                      </a:pP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2024-11-2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20000"/>
                        </a:lnSpc>
                      </a:pPr>
                      <a:r>
                        <a:rPr lang="en-US" altLang="ko-KR" sz="1000" dirty="0"/>
                        <a:t>Integrated Testing</a:t>
                      </a:r>
                      <a:endParaRPr lang="en-US" altLang="ko-KR" sz="10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lnSpc>
                          <a:spcPct val="120000"/>
                        </a:lnSpc>
                        <a:buFont typeface="+mj-lt"/>
                        <a:buNone/>
                      </a:pPr>
                      <a:r>
                        <a:rPr lang="en-US" altLang="ko-KR" sz="1000" dirty="0"/>
                        <a:t>1. Execute quality verification.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2. Record and analyze verification results.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VIRNECT Co., Ltd.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Kim Ji-</a:t>
                      </a:r>
                      <a:r>
                        <a:rPr lang="en-US" altLang="ko-KR" sz="1000" dirty="0" err="1"/>
                        <a:t>soo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Oh Jin-</a:t>
                      </a:r>
                      <a:r>
                        <a:rPr lang="en-US" altLang="ko-KR" sz="1000" dirty="0" err="1"/>
                        <a:t>seok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Park Yong-min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Kim Sung-</a:t>
                      </a:r>
                      <a:r>
                        <a:rPr lang="en-US" altLang="ko-KR" sz="1000" dirty="0" err="1"/>
                        <a:t>tae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2463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20000"/>
                        </a:lnSpc>
                      </a:pP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3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20000"/>
                        </a:lnSpc>
                      </a:pP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2024-12-0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20000"/>
                        </a:lnSpc>
                      </a:pPr>
                      <a:r>
                        <a:rPr lang="en-US" altLang="ko-KR" sz="1000" dirty="0"/>
                        <a:t>Reflection of Quality Verification Results</a:t>
                      </a:r>
                      <a:endParaRPr lang="en-US" altLang="ko-KR" sz="10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lnSpc>
                          <a:spcPct val="120000"/>
                        </a:lnSpc>
                        <a:buFont typeface="+mj-lt"/>
                        <a:buNone/>
                      </a:pPr>
                      <a:r>
                        <a:rPr lang="en-US" altLang="ko-KR" sz="1000" dirty="0"/>
                        <a:t>1. Reflect final quality verification results.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VIRNECT Co., Ltd.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Kim Sung-</a:t>
                      </a:r>
                      <a:r>
                        <a:rPr lang="en-US" altLang="ko-KR" sz="1000" dirty="0" err="1"/>
                        <a:t>tae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21218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45311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. Verification Overview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765270" y="4475150"/>
            <a:ext cx="28226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b="1" dirty="0">
                <a:ea typeface="나눔고딕" panose="020D0604000000000000" pitchFamily="50" charset="-127"/>
              </a:rPr>
              <a:t>&lt;</a:t>
            </a:r>
            <a:r>
              <a:rPr lang="en-US" altLang="ko-KR" sz="1100" b="1" dirty="0"/>
              <a:t>System Concept Diagram</a:t>
            </a:r>
            <a:r>
              <a:rPr lang="en-US" altLang="ko-KR" sz="1100" b="1" dirty="0">
                <a:ea typeface="나눔고딕" panose="020D0604000000000000" pitchFamily="50" charset="-127"/>
              </a:rPr>
              <a:t>&gt;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50825" y="716152"/>
            <a:ext cx="1440000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ea typeface="나눔고딕" panose="020D0604000000000000" pitchFamily="50" charset="-127"/>
              </a:rPr>
              <a:t>Scope</a:t>
            </a:r>
            <a:endParaRPr lang="ko-KR" altLang="en-US" sz="1600" dirty="0">
              <a:ea typeface="나눔고딕" panose="020D0604000000000000" pitchFamily="50" charset="-127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50825" y="5113650"/>
            <a:ext cx="1741604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Special Notes</a:t>
            </a:r>
            <a:endParaRPr lang="ko-KR" altLang="en-US" sz="1600" dirty="0">
              <a:ea typeface="나눔고딕" panose="020D0604000000000000" pitchFamily="50" charset="-127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5556047" y="4475150"/>
            <a:ext cx="28226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b="1" dirty="0">
                <a:ea typeface="나눔고딕" panose="020D0604000000000000" pitchFamily="50" charset="-127"/>
              </a:rPr>
              <a:t>&lt;</a:t>
            </a:r>
            <a:r>
              <a:rPr lang="ko-KR" altLang="en-US" sz="1100" b="1" dirty="0">
                <a:ea typeface="나눔고딕" panose="020D0604000000000000" pitchFamily="50" charset="-127"/>
              </a:rPr>
              <a:t>검증 범위</a:t>
            </a:r>
            <a:r>
              <a:rPr lang="en-US" altLang="ko-KR" sz="1100" b="1" dirty="0">
                <a:ea typeface="나눔고딕" panose="020D0604000000000000" pitchFamily="50" charset="-127"/>
              </a:rPr>
              <a:t>&gt;</a:t>
            </a: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6" name="직사각형 15"/>
          <p:cNvSpPr/>
          <p:nvPr/>
        </p:nvSpPr>
        <p:spPr>
          <a:xfrm>
            <a:off x="224329" y="5789336"/>
            <a:ext cx="8695342" cy="469826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2000" indent="-720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chemeClr val="tx1"/>
                </a:solidFill>
                <a:ea typeface="나눔고딕" panose="020D0604000000000000" pitchFamily="50" charset="-127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</a:rPr>
              <a:t>No Special Notes.</a:t>
            </a:r>
            <a:endParaRPr lang="en-US" altLang="ko-KR" sz="1200" dirty="0">
              <a:solidFill>
                <a:schemeClr val="tx1"/>
              </a:solidFill>
              <a:ea typeface="나눔고딕" panose="020D0604000000000000" pitchFamily="50" charset="-127"/>
            </a:endParaRPr>
          </a:p>
        </p:txBody>
      </p:sp>
      <p:graphicFrame>
        <p:nvGraphicFramePr>
          <p:cNvPr id="11" name="표 12">
            <a:extLst>
              <a:ext uri="{FF2B5EF4-FFF2-40B4-BE49-F238E27FC236}">
                <a16:creationId xmlns:a16="http://schemas.microsoft.com/office/drawing/2014/main" id="{4411E778-8ABA-6F62-E412-9C7A5AE7FA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0161931"/>
              </p:ext>
            </p:extLst>
          </p:nvPr>
        </p:nvGraphicFramePr>
        <p:xfrm>
          <a:off x="4448675" y="794332"/>
          <a:ext cx="4285315" cy="442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6365">
                  <a:extLst>
                    <a:ext uri="{9D8B030D-6E8A-4147-A177-3AD203B41FA5}">
                      <a16:colId xmlns:a16="http://schemas.microsoft.com/office/drawing/2014/main" val="1632373561"/>
                    </a:ext>
                  </a:extLst>
                </a:gridCol>
                <a:gridCol w="2698950">
                  <a:extLst>
                    <a:ext uri="{9D8B030D-6E8A-4147-A177-3AD203B41FA5}">
                      <a16:colId xmlns:a16="http://schemas.microsoft.com/office/drawing/2014/main" val="973216957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/>
                        <a:t>Test</a:t>
                      </a:r>
                      <a:r>
                        <a:rPr lang="ko-KR" altLang="en-US" sz="1500" b="1" dirty="0"/>
                        <a:t> </a:t>
                      </a:r>
                      <a:r>
                        <a:rPr lang="en-US" altLang="ko-KR" sz="1500" b="1" dirty="0"/>
                        <a:t>Scope</a:t>
                      </a:r>
                      <a:endParaRPr lang="ko-KR" altLang="en-US" sz="15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/>
                        <a:t>테스트 범위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81091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dirty="0">
                          <a:latin typeface="+mn-lt"/>
                        </a:rPr>
                        <a:t>Item</a:t>
                      </a:r>
                      <a:endParaRPr lang="ko-KR" altLang="en-US" sz="1300" b="1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200" b="1" dirty="0"/>
                        <a:t>Meta Quest 3, PC Version</a:t>
                      </a:r>
                      <a:endParaRPr lang="ko-KR" altLang="en-US" sz="1200" b="1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5147417"/>
                  </a:ext>
                </a:extLst>
              </a:tr>
              <a:tr h="73152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/>
                        <a:t>KICT-BIM Based Collaboration Platform - XR Based</a:t>
                      </a:r>
                      <a:endParaRPr lang="en-US" altLang="ko-KR" sz="1000" b="1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Microphone</a:t>
                      </a: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Model Adjustment</a:t>
                      </a: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Parameter Adjustment</a:t>
                      </a: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Issue Registration</a:t>
                      </a: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Issue List</a:t>
                      </a: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Object List</a:t>
                      </a: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Map List</a:t>
                      </a: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View Members</a:t>
                      </a: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Navigation</a:t>
                      </a: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Zoom</a:t>
                      </a: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Position Coordinates (x, y, z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1467830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1" dirty="0"/>
                        <a:t>COBIM Digital Collaboration Platform Research Team</a:t>
                      </a:r>
                      <a:endParaRPr lang="en-US" altLang="ko-KR" sz="1200" b="1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8299820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Project &gt; My Project</a:t>
                      </a: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Deliverables</a:t>
                      </a:r>
                    </a:p>
                    <a:p>
                      <a:pPr marL="171450" indent="-171450" latinLnBrk="1">
                        <a:buFont typeface="Wingdings" panose="05000000000000000000" pitchFamily="2" charset="2"/>
                        <a:buChar char="Ø"/>
                      </a:pPr>
                      <a:r>
                        <a:rPr lang="en-US" altLang="ko-KR" sz="1000" dirty="0">
                          <a:latin typeface="+mn-lt"/>
                        </a:rPr>
                        <a:t>Deliverable (CDE) &gt; Create New &gt; File Registration</a:t>
                      </a:r>
                    </a:p>
                    <a:p>
                      <a:pPr marL="171450" indent="-171450" latinLnBrk="1">
                        <a:buFont typeface="Wingdings" panose="05000000000000000000" pitchFamily="2" charset="2"/>
                        <a:buChar char="Ø"/>
                      </a:pPr>
                      <a:r>
                        <a:rPr lang="en-US" altLang="ko-KR" sz="1000" dirty="0">
                          <a:latin typeface="+mn-lt"/>
                        </a:rPr>
                        <a:t>Deliverable (CDE) &gt; Create Collaboration Room</a:t>
                      </a:r>
                    </a:p>
                    <a:p>
                      <a:pPr marL="171450" indent="-171450" latinLnBrk="1">
                        <a:buFont typeface="Wingdings" panose="05000000000000000000" pitchFamily="2" charset="2"/>
                        <a:buChar char="Ø"/>
                      </a:pPr>
                      <a:r>
                        <a:rPr lang="en-US" altLang="ko-KR" sz="1000" dirty="0">
                          <a:latin typeface="+mn-lt"/>
                        </a:rPr>
                        <a:t>Deliverable (CDE) &gt; Room List &gt; End Collaboration</a:t>
                      </a: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>
                          <a:latin typeface="+mn-lt"/>
                        </a:rPr>
                        <a:t>Message Not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672604"/>
                  </a:ext>
                </a:extLst>
              </a:tr>
            </a:tbl>
          </a:graphicData>
        </a:graphic>
      </p:graphicFrame>
      <p:pic>
        <p:nvPicPr>
          <p:cNvPr id="9" name="그림 8">
            <a:extLst>
              <a:ext uri="{FF2B5EF4-FFF2-40B4-BE49-F238E27FC236}">
                <a16:creationId xmlns:a16="http://schemas.microsoft.com/office/drawing/2014/main" id="{978E60E8-6C9C-AEB0-9221-3939268075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94" y="1166760"/>
            <a:ext cx="4119980" cy="2877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182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480F6B-DB83-90AF-3554-29C639A889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DFAD427-3EF4-CAAB-01BF-2DB2A5CF5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. Verification Overview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6229081-4240-64F3-BAFE-9AC92B8B95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>
              <a:latin typeface="+mn-ea"/>
              <a:ea typeface="+mn-ea"/>
            </a:endParaRPr>
          </a:p>
        </p:txBody>
      </p:sp>
      <p:sp>
        <p:nvSpPr>
          <p:cNvPr id="7" name="텍스트 개체 틀 6">
            <a:extLst>
              <a:ext uri="{FF2B5EF4-FFF2-40B4-BE49-F238E27FC236}">
                <a16:creationId xmlns:a16="http://schemas.microsoft.com/office/drawing/2014/main" id="{7F5EF3A9-5E57-DEF3-5147-B7FCDF197B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ko-KR" altLang="en-US">
              <a:latin typeface="+mn-ea"/>
              <a:ea typeface="+mn-e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71BCC7-7F61-2908-0534-86E8D3D9CDB1}"/>
              </a:ext>
            </a:extLst>
          </p:cNvPr>
          <p:cNvSpPr txBox="1"/>
          <p:nvPr/>
        </p:nvSpPr>
        <p:spPr>
          <a:xfrm>
            <a:off x="250825" y="716152"/>
            <a:ext cx="1966600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Quality Objectives</a:t>
            </a:r>
            <a:endPara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E275DEF1-277C-84D4-236C-90426DFC05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5199162"/>
              </p:ext>
            </p:extLst>
          </p:nvPr>
        </p:nvGraphicFramePr>
        <p:xfrm>
          <a:off x="250826" y="1204174"/>
          <a:ext cx="8425629" cy="290730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90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00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41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243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1622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722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No.</a:t>
                      </a:r>
                      <a:endParaRPr lang="ko-KR" sz="110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/>
                        <a:t>Quality Attribute</a:t>
                      </a:r>
                      <a:endParaRPr lang="ko-KR" sz="1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/>
                        <a:t>Evaluation Item</a:t>
                      </a:r>
                      <a:endParaRPr lang="ko-KR" sz="1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/>
                        <a:t>Target Value</a:t>
                      </a:r>
                      <a:endParaRPr lang="ko-KR" sz="1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/>
                        <a:t>Evaluation Criteria (Acceptance Criteria)</a:t>
                      </a:r>
                      <a:endParaRPr lang="ko-KR" sz="1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/>
                        <a:t>Evaluation Details</a:t>
                      </a:r>
                      <a:endParaRPr lang="ko-KR" sz="1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49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endParaRPr lang="ko-KR" sz="1100" dirty="0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Functional Suitability</a:t>
                      </a:r>
                      <a:endParaRPr lang="ko-KR" sz="10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Completeness of Function Implementation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</a:rPr>
                        <a:t>100%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Implementation of all requirements specified in the Requirements Specification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Implemented functions / Specified requirements functions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49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2</a:t>
                      </a:r>
                      <a:endParaRPr lang="ko-KR" sz="1100" dirty="0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Portability</a:t>
                      </a:r>
                      <a:endParaRPr lang="ko-KR" sz="10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Ease of Installation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100%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Degree of effectiveness and efficiency in installing or removing the KICT-BIM application in the designated environment</a:t>
                      </a:r>
                      <a:endParaRPr lang="en-US" altLang="ko-KR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Number of failures / Number of successes</a:t>
                      </a:r>
                      <a:endParaRPr lang="ko-KR" alt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extLst>
                  <a:ext uri="{0D108BD9-81ED-4DB2-BD59-A6C34878D82A}">
                    <a16:rowId xmlns:a16="http://schemas.microsoft.com/office/drawing/2014/main" val="3807543945"/>
                  </a:ext>
                </a:extLst>
              </a:tr>
              <a:tr h="22649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3</a:t>
                      </a:r>
                      <a:endParaRPr lang="ko-KR" sz="1100" dirty="0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Security</a:t>
                      </a:r>
                      <a:endParaRPr lang="ko-KR" sz="10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Authentication Metho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100%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Number of login authentication test cases for the KICT-BIM application</a:t>
                      </a:r>
                      <a:endParaRPr lang="ko-KR" alt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Number of executed login authentication test cases / Total number of login authentication test cases</a:t>
                      </a:r>
                      <a:endParaRPr lang="ko-KR" alt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extLst>
                  <a:ext uri="{0D108BD9-81ED-4DB2-BD59-A6C34878D82A}">
                    <a16:rowId xmlns:a16="http://schemas.microsoft.com/office/drawing/2014/main" val="3086120376"/>
                  </a:ext>
                </a:extLst>
              </a:tr>
              <a:tr h="22649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100" dirty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4</a:t>
                      </a:r>
                      <a:endParaRPr lang="ko-KR" sz="1100" dirty="0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Reliability</a:t>
                      </a:r>
                      <a:endParaRPr lang="ko-KR" sz="10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Test Coverage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나눔고딕" panose="020D0604000000000000" pitchFamily="50" charset="-127"/>
                          <a:cs typeface="나눔고딕" panose="020D0604000000000000" pitchFamily="50" charset="-127"/>
                        </a:rPr>
                        <a:t>100%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Number of executed test cases during the test perio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ko-KR" sz="1000" dirty="0"/>
                        <a:t>Number of actual executed test cases / Total number of test cases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나눔고딕" panose="020D0604000000000000" pitchFamily="50" charset="-127"/>
                        <a:cs typeface="나눔고딕" panose="020D0604000000000000" pitchFamily="50" charset="-127"/>
                      </a:endParaRPr>
                    </a:p>
                  </a:txBody>
                  <a:tcPr marL="19237" marR="19237" marT="19237" marB="19237" anchor="ctr"/>
                </a:tc>
                <a:extLst>
                  <a:ext uri="{0D108BD9-81ED-4DB2-BD59-A6C34878D82A}">
                    <a16:rowId xmlns:a16="http://schemas.microsoft.com/office/drawing/2014/main" val="2313628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71711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10" name="제목 1"/>
          <p:cNvSpPr>
            <a:spLocks noGrp="1"/>
          </p:cNvSpPr>
          <p:nvPr>
            <p:ph type="title"/>
          </p:nvPr>
        </p:nvSpPr>
        <p:spPr>
          <a:xfrm>
            <a:off x="179513" y="91742"/>
            <a:ext cx="5976663" cy="414938"/>
          </a:xfrm>
        </p:spPr>
        <p:txBody>
          <a:bodyPr/>
          <a:lstStyle/>
          <a:p>
            <a:r>
              <a:rPr lang="en-US" altLang="ko-KR" dirty="0"/>
              <a:t>I. Verification Overview</a:t>
            </a:r>
            <a:endParaRPr lang="ko-KR" alt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50824" y="716152"/>
            <a:ext cx="1885983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Test Environment</a:t>
            </a:r>
            <a:endPara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12" name="표 11">
            <a:extLst>
              <a:ext uri="{FF2B5EF4-FFF2-40B4-BE49-F238E27FC236}">
                <a16:creationId xmlns:a16="http://schemas.microsoft.com/office/drawing/2014/main" id="{BA6B2045-8B7C-A274-2A44-937D7119AA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1559698"/>
              </p:ext>
            </p:extLst>
          </p:nvPr>
        </p:nvGraphicFramePr>
        <p:xfrm>
          <a:off x="1370868" y="3429000"/>
          <a:ext cx="6402264" cy="24956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03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018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01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Product Name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Meta Quest 3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28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</a:rPr>
                        <a:t>SoC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napdragon XR2 Gen 2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079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</a:rPr>
                        <a:t>DRAM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GB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584187"/>
                  </a:ext>
                </a:extLst>
              </a:tr>
              <a:tr h="12828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/>
                        <a:t>Storage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8GB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378050"/>
                  </a:ext>
                </a:extLst>
              </a:tr>
              <a:tr h="12828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/>
                        <a:t>Display Resolution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64 x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208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| 1218PPI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| 25PPD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464538"/>
                  </a:ext>
                </a:extLst>
              </a:tr>
              <a:tr h="12828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/>
                        <a:t>FOV (°)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Horizontal 110° / Vertical 96°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8419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/>
                        <a:t>Lens Technology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/>
                        <a:t>Pancake Lens, Continuous IAD</a:t>
                      </a:r>
                      <a:endParaRPr lang="pt-BR" altLang="ko-KR" sz="1100" b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44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/>
                        <a:t>Color Space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sRGB 100%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58561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/>
                        <a:t>Battery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/>
                        <a:t>5060mAh </a:t>
                      </a:r>
                      <a:r>
                        <a:rPr lang="en-US" altLang="ko-KR" sz="1100" i="1" dirty="0"/>
                        <a:t>~22 hours continuous</a:t>
                      </a:r>
                      <a:endParaRPr lang="pt-BR" altLang="ko-KR" sz="1100" b="0" kern="120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855868"/>
                  </a:ext>
                </a:extLst>
              </a:tr>
            </a:tbl>
          </a:graphicData>
        </a:graphic>
      </p:graphicFrame>
      <p:graphicFrame>
        <p:nvGraphicFramePr>
          <p:cNvPr id="15" name="표 14">
            <a:extLst>
              <a:ext uri="{FF2B5EF4-FFF2-40B4-BE49-F238E27FC236}">
                <a16:creationId xmlns:a16="http://schemas.microsoft.com/office/drawing/2014/main" id="{AD9E76D4-C973-AD0B-7335-7FE3D05E18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1114640"/>
              </p:ext>
            </p:extLst>
          </p:nvPr>
        </p:nvGraphicFramePr>
        <p:xfrm>
          <a:off x="179511" y="1124745"/>
          <a:ext cx="8760159" cy="2122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82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19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92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Category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Details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81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Product Name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KICT-BIM Development Server</a:t>
                      </a:r>
                      <a:endParaRPr lang="ko-KR" altLang="en-US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28161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Execution Environment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/>
                        <a:t>- VMWare (211.43.204.133)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- </a:t>
                      </a:r>
                      <a:r>
                        <a:rPr lang="en-US" altLang="ko-KR" sz="1000" b="1" dirty="0"/>
                        <a:t>Software (SW):</a:t>
                      </a:r>
                      <a:r>
                        <a:rPr lang="en-US" altLang="ko-KR" sz="1000" dirty="0"/>
                        <a:t> 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    • Spring Boot : 3.2.3 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    • Flask : Python 3.12.4, Flask 3.0.3 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    • MariaDB : 11.3.2-MariaDB-1:11.3.2+maria~ubu2204 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    • Docker : version 25.0.4, build 1a576c5 </a:t>
                      </a:r>
                      <a:br>
                        <a:rPr lang="en-US" altLang="ko-KR" sz="1000" dirty="0"/>
                      </a:br>
                      <a:r>
                        <a:rPr lang="en-US" altLang="ko-KR" sz="1000" dirty="0"/>
                        <a:t>    • Docker Compose : version v2.24.7</a:t>
                      </a:r>
                      <a:endParaRPr lang="x-none" altLang="ko-KR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303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Product Information (Description)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latin typeface="+mn-lt"/>
                        <a:ea typeface="+mn-ea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/>
                        <a:t>BIM-based collaboration platform - XR-based development (voice communication, parameter measurement, issue registration &amp; sharing, location sharing, etc.)</a:t>
                      </a:r>
                      <a:endParaRPr lang="ko-KR" altLang="ko-KR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84518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E1B0FC-35D5-5662-DF70-EBDFC94E10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3DB0F25-7BAE-8E1B-7DD0-128E746297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10" name="제목 1">
            <a:extLst>
              <a:ext uri="{FF2B5EF4-FFF2-40B4-BE49-F238E27FC236}">
                <a16:creationId xmlns:a16="http://schemas.microsoft.com/office/drawing/2014/main" id="{246687DD-2B15-E30F-5B58-11B0F8459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3" y="91742"/>
            <a:ext cx="5976663" cy="414938"/>
          </a:xfrm>
        </p:spPr>
        <p:txBody>
          <a:bodyPr/>
          <a:lstStyle/>
          <a:p>
            <a:r>
              <a:rPr lang="en-US" altLang="ko-KR" dirty="0"/>
              <a:t>I. Verification Overview</a:t>
            </a:r>
            <a:endParaRPr lang="ko-KR" altLang="en-US" dirty="0"/>
          </a:p>
        </p:txBody>
      </p:sp>
      <p:graphicFrame>
        <p:nvGraphicFramePr>
          <p:cNvPr id="12" name="표 11">
            <a:extLst>
              <a:ext uri="{FF2B5EF4-FFF2-40B4-BE49-F238E27FC236}">
                <a16:creationId xmlns:a16="http://schemas.microsoft.com/office/drawing/2014/main" id="{D0CF19BE-69D6-3E49-BA24-D04D943144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561969"/>
              </p:ext>
            </p:extLst>
          </p:nvPr>
        </p:nvGraphicFramePr>
        <p:xfrm>
          <a:off x="1290886" y="1264178"/>
          <a:ext cx="6402264" cy="19224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03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018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0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Product Name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PC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774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</a:rPr>
                        <a:t> OS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ndows 10 Pro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085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</a:rPr>
                        <a:t> Processor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Intel(R) Core(TM) i7-1195G7 CPU @ 2.90GHz 2.92 GHz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08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</a:rPr>
                        <a:t>RAM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+mn-lt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>
                          <a:solidFill>
                            <a:schemeClr val="tx1"/>
                          </a:solidFill>
                          <a:latin typeface="+mn-lt"/>
                          <a:ea typeface="나눔고딕" panose="020D0604000000000000" pitchFamily="50" charset="-127"/>
                          <a:cs typeface="+mn-cs"/>
                        </a:rPr>
                        <a:t>16.0GB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E4D2DE4-2615-56CC-24B9-175DA2AE76DC}"/>
              </a:ext>
            </a:extLst>
          </p:cNvPr>
          <p:cNvSpPr txBox="1"/>
          <p:nvPr/>
        </p:nvSpPr>
        <p:spPr>
          <a:xfrm>
            <a:off x="250824" y="716152"/>
            <a:ext cx="1885983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Test Environment</a:t>
            </a:r>
            <a:endPara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334028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 descr="텍스트, 스크린샷, 소프트웨어, 번호이(가) 표시된 사진&#10;&#10;자동 생성된 설명">
            <a:extLst>
              <a:ext uri="{FF2B5EF4-FFF2-40B4-BE49-F238E27FC236}">
                <a16:creationId xmlns:a16="http://schemas.microsoft.com/office/drawing/2014/main" id="{25A35EC6-25F1-55D4-B843-C0A74AB409B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87" y="4221164"/>
            <a:ext cx="2306356" cy="1407631"/>
          </a:xfrm>
          <a:prstGeom prst="rect">
            <a:avLst/>
          </a:prstGeom>
        </p:spPr>
      </p:pic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10" name="제목 1"/>
          <p:cNvSpPr>
            <a:spLocks noGrp="1"/>
          </p:cNvSpPr>
          <p:nvPr>
            <p:ph type="title"/>
          </p:nvPr>
        </p:nvSpPr>
        <p:spPr>
          <a:xfrm>
            <a:off x="179513" y="91742"/>
            <a:ext cx="5976663" cy="414938"/>
          </a:xfrm>
        </p:spPr>
        <p:txBody>
          <a:bodyPr/>
          <a:lstStyle/>
          <a:p>
            <a:r>
              <a:rPr lang="en-US" altLang="ko-KR" dirty="0"/>
              <a:t>I. </a:t>
            </a:r>
            <a:r>
              <a:rPr lang="ko-KR" altLang="en-US" dirty="0"/>
              <a:t>검증 개요</a:t>
            </a:r>
          </a:p>
        </p:txBody>
      </p:sp>
      <p:sp>
        <p:nvSpPr>
          <p:cNvPr id="15" name="텍스트 개체 틀 2"/>
          <p:cNvSpPr>
            <a:spLocks noGrp="1"/>
          </p:cNvSpPr>
          <p:nvPr>
            <p:ph type="body" sz="quarter" idx="19"/>
          </p:nvPr>
        </p:nvSpPr>
        <p:spPr>
          <a:xfrm>
            <a:off x="5390494" y="3569364"/>
            <a:ext cx="2963514" cy="345483"/>
          </a:xfrm>
        </p:spPr>
        <p:txBody>
          <a:bodyPr/>
          <a:lstStyle/>
          <a:p>
            <a:pPr algn="ctr"/>
            <a:r>
              <a:rPr lang="en-US" altLang="ko-KR" dirty="0"/>
              <a:t>&lt;KICT-BIM PC</a:t>
            </a:r>
            <a:r>
              <a:rPr lang="en-US" altLang="ko-KR" sz="1600" dirty="0"/>
              <a:t>&gt;</a:t>
            </a:r>
            <a:endParaRPr lang="ko-KR" altLang="en-US" dirty="0"/>
          </a:p>
        </p:txBody>
      </p:sp>
      <p:sp>
        <p:nvSpPr>
          <p:cNvPr id="25" name="텍스트 개체 틀 2">
            <a:extLst>
              <a:ext uri="{FF2B5EF4-FFF2-40B4-BE49-F238E27FC236}">
                <a16:creationId xmlns:a16="http://schemas.microsoft.com/office/drawing/2014/main" id="{3E708103-346B-7CD8-8F52-536809360183}"/>
              </a:ext>
            </a:extLst>
          </p:cNvPr>
          <p:cNvSpPr txBox="1">
            <a:spLocks/>
          </p:cNvSpPr>
          <p:nvPr/>
        </p:nvSpPr>
        <p:spPr>
          <a:xfrm>
            <a:off x="3167844" y="5825030"/>
            <a:ext cx="2922224" cy="345483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dirty="0"/>
              <a:t>&lt;</a:t>
            </a:r>
            <a:r>
              <a:rPr lang="en-US" altLang="ko-KR" dirty="0" err="1"/>
              <a:t>cobim</a:t>
            </a:r>
            <a:r>
              <a:rPr lang="en-US" altLang="ko-KR" dirty="0"/>
              <a:t>((https://cobim.io)</a:t>
            </a:r>
            <a:r>
              <a:rPr lang="en-US" altLang="ko-KR" sz="1600" dirty="0"/>
              <a:t>&gt;</a:t>
            </a:r>
            <a:endParaRPr lang="ko-KR" altLang="en-US" dirty="0"/>
          </a:p>
        </p:txBody>
      </p:sp>
      <p:pic>
        <p:nvPicPr>
          <p:cNvPr id="17" name="그림 16">
            <a:extLst>
              <a:ext uri="{FF2B5EF4-FFF2-40B4-BE49-F238E27FC236}">
                <a16:creationId xmlns:a16="http://schemas.microsoft.com/office/drawing/2014/main" id="{6CFF50CC-B37C-0581-60E8-F33F9595F8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8902" y="1410842"/>
            <a:ext cx="1830214" cy="989098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9AD78CD2-CDDD-3578-6AF6-8E7EAE6204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09457" y="1410842"/>
            <a:ext cx="1830213" cy="989097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E5E7C5E9-AD12-6A87-56AD-CCF4E42F39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0067" y="2517748"/>
            <a:ext cx="1830213" cy="989097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58F8B9A1-E333-8A8D-CDD5-F0865FD45C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6833" y="1410842"/>
            <a:ext cx="1830213" cy="961451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57DC5331-792D-9B0A-DD38-6C096C1E36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87387" y="1414456"/>
            <a:ext cx="1830213" cy="957838"/>
          </a:xfrm>
          <a:prstGeom prst="rect">
            <a:avLst/>
          </a:prstGeom>
        </p:spPr>
      </p:pic>
      <p:pic>
        <p:nvPicPr>
          <p:cNvPr id="31" name="그림 30">
            <a:extLst>
              <a:ext uri="{FF2B5EF4-FFF2-40B4-BE49-F238E27FC236}">
                <a16:creationId xmlns:a16="http://schemas.microsoft.com/office/drawing/2014/main" id="{5A54C65B-A19B-9D95-588B-278667EFDF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67997" y="2487898"/>
            <a:ext cx="1830213" cy="989097"/>
          </a:xfrm>
          <a:prstGeom prst="rect">
            <a:avLst/>
          </a:prstGeom>
        </p:spPr>
      </p:pic>
      <p:sp>
        <p:nvSpPr>
          <p:cNvPr id="34" name="텍스트 개체 틀 2">
            <a:extLst>
              <a:ext uri="{FF2B5EF4-FFF2-40B4-BE49-F238E27FC236}">
                <a16:creationId xmlns:a16="http://schemas.microsoft.com/office/drawing/2014/main" id="{646F665C-D762-C860-C801-5B1A66A6D770}"/>
              </a:ext>
            </a:extLst>
          </p:cNvPr>
          <p:cNvSpPr txBox="1">
            <a:spLocks/>
          </p:cNvSpPr>
          <p:nvPr/>
        </p:nvSpPr>
        <p:spPr>
          <a:xfrm>
            <a:off x="610564" y="3569363"/>
            <a:ext cx="2963514" cy="345483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dirty="0"/>
              <a:t>&lt;KICT-BIM Metaquest3</a:t>
            </a:r>
            <a:r>
              <a:rPr lang="en-US" altLang="ko-KR" sz="1600" dirty="0"/>
              <a:t>&gt;</a:t>
            </a:r>
            <a:endParaRPr lang="ko-KR" altLang="en-US" dirty="0"/>
          </a:p>
        </p:txBody>
      </p:sp>
      <p:pic>
        <p:nvPicPr>
          <p:cNvPr id="36" name="그림 35" descr="텍스트, 소프트웨어, 컴퓨터 아이콘, 웹 페이지이(가) 표시된 사진&#10;&#10;자동 생성된 설명">
            <a:extLst>
              <a:ext uri="{FF2B5EF4-FFF2-40B4-BE49-F238E27FC236}">
                <a16:creationId xmlns:a16="http://schemas.microsoft.com/office/drawing/2014/main" id="{720CFAD5-2092-1D4C-8147-D1E09672701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8883" y="4221164"/>
            <a:ext cx="2306356" cy="1374747"/>
          </a:xfrm>
          <a:prstGeom prst="rect">
            <a:avLst/>
          </a:prstGeom>
        </p:spPr>
      </p:pic>
      <p:pic>
        <p:nvPicPr>
          <p:cNvPr id="38" name="그림 37" descr="텍스트, 스크린샷, 집, 소프트웨어이(가) 표시된 사진&#10;&#10;자동 생성된 설명">
            <a:extLst>
              <a:ext uri="{FF2B5EF4-FFF2-40B4-BE49-F238E27FC236}">
                <a16:creationId xmlns:a16="http://schemas.microsoft.com/office/drawing/2014/main" id="{9124F85C-09EB-B3B2-1410-CCAEB855FE6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279" y="4204723"/>
            <a:ext cx="2306356" cy="140763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84A3D39-48D6-0751-4277-5B9C5DE1CEA2}"/>
              </a:ext>
            </a:extLst>
          </p:cNvPr>
          <p:cNvSpPr txBox="1"/>
          <p:nvPr/>
        </p:nvSpPr>
        <p:spPr>
          <a:xfrm>
            <a:off x="250824" y="716152"/>
            <a:ext cx="1885983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Test Environment</a:t>
            </a:r>
            <a:endPara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429351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gBXdP4OUmFG9yMCxOWTQ"/>
</p:tagLst>
</file>

<file path=ppt/theme/theme1.xml><?xml version="1.0" encoding="utf-8"?>
<a:theme xmlns:a="http://schemas.openxmlformats.org/drawingml/2006/main" name="표지_이미지X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표지_이미지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목차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내용페이지_소제목X">
  <a:themeElements>
    <a:clrScheme name="VIRNECT 2020">
      <a:dk1>
        <a:srgbClr val="000000"/>
      </a:dk1>
      <a:lt1>
        <a:srgbClr val="FFFFFF"/>
      </a:lt1>
      <a:dk2>
        <a:srgbClr val="44546A"/>
      </a:dk2>
      <a:lt2>
        <a:srgbClr val="E9EBEF"/>
      </a:lt2>
      <a:accent1>
        <a:srgbClr val="05337C"/>
      </a:accent1>
      <a:accent2>
        <a:srgbClr val="549EDB"/>
      </a:accent2>
      <a:accent3>
        <a:srgbClr val="7E7F7E"/>
      </a:accent3>
      <a:accent4>
        <a:srgbClr val="CBCFD2"/>
      </a:accent4>
      <a:accent5>
        <a:srgbClr val="FEFFFE"/>
      </a:accent5>
      <a:accent6>
        <a:srgbClr val="000000"/>
      </a:accent6>
      <a:hlink>
        <a:srgbClr val="549EDB"/>
      </a:hlink>
      <a:folHlink>
        <a:srgbClr val="08337B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내용페이지_소제목O">
  <a:themeElements>
    <a:clrScheme name="VIRNECT 2020">
      <a:dk1>
        <a:srgbClr val="000000"/>
      </a:dk1>
      <a:lt1>
        <a:srgbClr val="FFFFFF"/>
      </a:lt1>
      <a:dk2>
        <a:srgbClr val="44546A"/>
      </a:dk2>
      <a:lt2>
        <a:srgbClr val="E9EBEF"/>
      </a:lt2>
      <a:accent1>
        <a:srgbClr val="05337C"/>
      </a:accent1>
      <a:accent2>
        <a:srgbClr val="549EDB"/>
      </a:accent2>
      <a:accent3>
        <a:srgbClr val="7E7F7E"/>
      </a:accent3>
      <a:accent4>
        <a:srgbClr val="CBCFD2"/>
      </a:accent4>
      <a:accent5>
        <a:srgbClr val="FEFFFE"/>
      </a:accent5>
      <a:accent6>
        <a:srgbClr val="000000"/>
      </a:accent6>
      <a:hlink>
        <a:srgbClr val="549EDB"/>
      </a:hlink>
      <a:folHlink>
        <a:srgbClr val="08337B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끝인사">
  <a:themeElements>
    <a:clrScheme name="VIRNECT 2020">
      <a:dk1>
        <a:srgbClr val="000000"/>
      </a:dk1>
      <a:lt1>
        <a:srgbClr val="FFFFFF"/>
      </a:lt1>
      <a:dk2>
        <a:srgbClr val="44546A"/>
      </a:dk2>
      <a:lt2>
        <a:srgbClr val="E9EBEF"/>
      </a:lt2>
      <a:accent1>
        <a:srgbClr val="05337C"/>
      </a:accent1>
      <a:accent2>
        <a:srgbClr val="549EDB"/>
      </a:accent2>
      <a:accent3>
        <a:srgbClr val="7E7F7E"/>
      </a:accent3>
      <a:accent4>
        <a:srgbClr val="CBCFD2"/>
      </a:accent4>
      <a:accent5>
        <a:srgbClr val="FEFFFE"/>
      </a:accent5>
      <a:accent6>
        <a:srgbClr val="000000"/>
      </a:accent6>
      <a:hlink>
        <a:srgbClr val="549EDB"/>
      </a:hlink>
      <a:folHlink>
        <a:srgbClr val="08337B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7DAB6FEA8677A14C9BB8D0AC17E41CCA" ma:contentTypeVersion="8" ma:contentTypeDescription="새 문서를 만듭니다." ma:contentTypeScope="" ma:versionID="83801a4cc691491a08b41687f864737e">
  <xsd:schema xmlns:xsd="http://www.w3.org/2001/XMLSchema" xmlns:xs="http://www.w3.org/2001/XMLSchema" xmlns:p="http://schemas.microsoft.com/office/2006/metadata/properties" xmlns:ns2="36538508-04b3-4e54-b916-3a2761e4ca23" targetNamespace="http://schemas.microsoft.com/office/2006/metadata/properties" ma:root="true" ma:fieldsID="875e2c601d935035ec29683ddd9e674d" ns2:_="">
    <xsd:import namespace="36538508-04b3-4e54-b916-3a2761e4ca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538508-04b3-4e54-b916-3a2761e4ca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E035A67-C1BA-430F-A094-D28EF6166DC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538508-04b3-4e54-b916-3a2761e4ca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2295B5B-85B2-452D-82D5-487854AF4549}">
  <ds:schemaRefs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36538508-04b3-4e54-b916-3a2761e4ca23"/>
    <ds:schemaRef ds:uri="http://schemas.microsoft.com/office/infopath/2007/PartnerControl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9B5A7FF-6AE2-4968-B737-87E8EDAC337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171</TotalTime>
  <Words>1233</Words>
  <Application>Microsoft Office PowerPoint</Application>
  <PresentationFormat>화면 슬라이드 쇼(4:3)</PresentationFormat>
  <Paragraphs>271</Paragraphs>
  <Slides>13</Slides>
  <Notes>10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6</vt:i4>
      </vt:variant>
      <vt:variant>
        <vt:lpstr>슬라이드 제목</vt:lpstr>
      </vt:variant>
      <vt:variant>
        <vt:i4>13</vt:i4>
      </vt:variant>
    </vt:vector>
  </HeadingPairs>
  <TitlesOfParts>
    <vt:vector size="23" baseType="lpstr">
      <vt:lpstr>나눔고딕</vt:lpstr>
      <vt:lpstr>맑은 고딕</vt:lpstr>
      <vt:lpstr>Arial</vt:lpstr>
      <vt:lpstr>Wingdings</vt:lpstr>
      <vt:lpstr>표지_이미지X</vt:lpstr>
      <vt:lpstr>표지_이미지O</vt:lpstr>
      <vt:lpstr>목차</vt:lpstr>
      <vt:lpstr>내용페이지_소제목X</vt:lpstr>
      <vt:lpstr>내용페이지_소제목O</vt:lpstr>
      <vt:lpstr>끝인사</vt:lpstr>
      <vt:lpstr>2024 KICT-BIM Based Collaboration Platform - XR Based  Quality Verification Report</vt:lpstr>
      <vt:lpstr>Revision History</vt:lpstr>
      <vt:lpstr>PowerPoint 프레젠테이션</vt:lpstr>
      <vt:lpstr>I. Verification Overview</vt:lpstr>
      <vt:lpstr>I. Verification Overview</vt:lpstr>
      <vt:lpstr>I. Verification Overview</vt:lpstr>
      <vt:lpstr>I. Verification Overview</vt:lpstr>
      <vt:lpstr>I. Verification Overview</vt:lpstr>
      <vt:lpstr>I. 검증 개요</vt:lpstr>
      <vt:lpstr>II. Verification Results</vt:lpstr>
      <vt:lpstr>II. Verification Results</vt:lpstr>
      <vt:lpstr>III Appendix: Quality Verification Execution Environment</vt:lpstr>
      <vt:lpstr>Thank you.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VIRNECT_Jkim</dc:creator>
  <cp:lastModifiedBy>성태 김</cp:lastModifiedBy>
  <cp:revision>1120</cp:revision>
  <cp:lastPrinted>2024-12-03T07:22:20Z</cp:lastPrinted>
  <dcterms:created xsi:type="dcterms:W3CDTF">2018-01-15T06:35:03Z</dcterms:created>
  <dcterms:modified xsi:type="dcterms:W3CDTF">2025-03-11T01:33:35Z</dcterms:modified>
  <cp:version>0906.0100.01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AB6FEA8677A14C9BB8D0AC17E41CCA</vt:lpwstr>
  </property>
</Properties>
</file>